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ink/ink28.xml" ContentType="application/inkml+xml"/>
  <Override PartName="/ppt/ink/ink29.xml" ContentType="application/inkml+xml"/>
  <Override PartName="/ppt/ink/ink30.xml" ContentType="application/inkml+xml"/>
  <Override PartName="/ppt/notesSlides/notesSlide12.xml" ContentType="application/vnd.openxmlformats-officedocument.presentationml.notesSlide+xml"/>
  <Override PartName="/ppt/ink/ink31.xml" ContentType="application/inkml+xml"/>
  <Override PartName="/ppt/ink/ink32.xml" ContentType="application/inkml+xml"/>
  <Override PartName="/ppt/notesSlides/notesSlide13.xml" ContentType="application/vnd.openxmlformats-officedocument.presentationml.notesSlide+xml"/>
  <Override PartName="/ppt/ink/ink33.xml" ContentType="application/inkml+xml"/>
  <Override PartName="/ppt/ink/ink34.xml" ContentType="application/inkml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ink/ink62.xml" ContentType="application/inkml+xml"/>
  <Override PartName="/ppt/ink/ink63.xml" ContentType="application/inkml+xml"/>
  <Override PartName="/ppt/ink/ink64.xml" ContentType="application/inkml+xml"/>
  <Override PartName="/ppt/ink/ink65.xml" ContentType="application/inkml+xml"/>
  <Override PartName="/ppt/ink/ink66.xml" ContentType="application/inkml+xml"/>
  <Override PartName="/ppt/ink/ink67.xml" ContentType="application/inkml+xml"/>
  <Override PartName="/ppt/ink/ink68.xml" ContentType="application/inkml+xml"/>
  <Override PartName="/ppt/ink/ink69.xml" ContentType="application/inkml+xml"/>
  <Override PartName="/ppt/ink/ink70.xml" ContentType="application/inkml+xml"/>
  <Override PartName="/ppt/ink/ink71.xml" ContentType="application/inkml+xml"/>
  <Override PartName="/ppt/ink/ink72.xml" ContentType="application/inkml+xml"/>
  <Override PartName="/ppt/ink/ink73.xml" ContentType="application/inkml+xml"/>
  <Override PartName="/ppt/ink/ink74.xml" ContentType="application/inkml+xml"/>
  <Override PartName="/ppt/ink/ink75.xml" ContentType="application/inkml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ink/ink76.xml" ContentType="application/inkml+xml"/>
  <Override PartName="/ppt/notesSlides/notesSlide27.xml" ContentType="application/vnd.openxmlformats-officedocument.presentationml.notesSlide+xml"/>
  <Override PartName="/ppt/ink/ink77.xml" ContentType="application/inkml+xml"/>
  <Override PartName="/ppt/ink/ink78.xml" ContentType="application/inkml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ink/ink79.xml" ContentType="application/inkml+xml"/>
  <Override PartName="/ppt/ink/ink80.xml" ContentType="application/inkml+xml"/>
  <Override PartName="/ppt/ink/ink81.xml" ContentType="application/inkml+xml"/>
  <Override PartName="/ppt/ink/ink82.xml" ContentType="application/inkml+xml"/>
  <Override PartName="/ppt/ink/ink83.xml" ContentType="application/inkml+xml"/>
  <Override PartName="/ppt/ink/ink84.xml" ContentType="application/inkml+xml"/>
  <Override PartName="/ppt/ink/ink85.xml" ContentType="application/inkml+xml"/>
  <Override PartName="/ppt/ink/ink86.xml" ContentType="application/inkml+xml"/>
  <Override PartName="/ppt/ink/ink87.xml" ContentType="application/inkml+xml"/>
  <Override PartName="/ppt/ink/ink88.xml" ContentType="application/inkml+xml"/>
  <Override PartName="/ppt/ink/ink89.xml" ContentType="application/inkml+xml"/>
  <Override PartName="/ppt/ink/ink90.xml" ContentType="application/inkml+xml"/>
  <Override PartName="/ppt/ink/ink91.xml" ContentType="application/inkml+xml"/>
  <Override PartName="/ppt/ink/ink92.xml" ContentType="application/inkml+xml"/>
  <Override PartName="/ppt/ink/ink93.xml" ContentType="application/inkml+xml"/>
  <Override PartName="/ppt/ink/ink94.xml" ContentType="application/inkml+xml"/>
  <Override PartName="/ppt/ink/ink95.xml" ContentType="application/inkml+xml"/>
  <Override PartName="/ppt/ink/ink96.xml" ContentType="application/inkml+xml"/>
  <Override PartName="/ppt/ink/ink97.xml" ContentType="application/inkml+xml"/>
  <Override PartName="/ppt/ink/ink98.xml" ContentType="application/inkml+xml"/>
  <Override PartName="/ppt/ink/ink99.xml" ContentType="application/inkml+xml"/>
  <Override PartName="/ppt/ink/ink100.xml" ContentType="application/inkml+xml"/>
  <Override PartName="/ppt/ink/ink101.xml" ContentType="application/inkml+xml"/>
  <Override PartName="/ppt/ink/ink102.xml" ContentType="application/inkml+xml"/>
  <Override PartName="/ppt/ink/ink103.xml" ContentType="application/inkml+xml"/>
  <Override PartName="/ppt/ink/ink104.xml" ContentType="application/inkml+xml"/>
  <Override PartName="/ppt/ink/ink105.xml" ContentType="application/inkml+xml"/>
  <Override PartName="/ppt/ink/ink106.xml" ContentType="application/inkml+xml"/>
  <Override PartName="/ppt/ink/ink107.xml" ContentType="application/inkml+xml"/>
  <Override PartName="/ppt/ink/ink108.xml" ContentType="application/inkml+xml"/>
  <Override PartName="/ppt/ink/ink109.xml" ContentType="application/inkml+xml"/>
  <Override PartName="/ppt/ink/ink110.xml" ContentType="application/inkml+xml"/>
  <Override PartName="/ppt/ink/ink111.xml" ContentType="application/inkml+xml"/>
  <Override PartName="/ppt/ink/ink112.xml" ContentType="application/inkml+xml"/>
  <Override PartName="/ppt/ink/ink113.xml" ContentType="application/inkml+xml"/>
  <Override PartName="/ppt/ink/ink114.xml" ContentType="application/inkml+xml"/>
  <Override PartName="/ppt/ink/ink115.xml" ContentType="application/inkml+xml"/>
  <Override PartName="/ppt/ink/ink116.xml" ContentType="application/inkml+xml"/>
  <Override PartName="/ppt/ink/ink117.xml" ContentType="application/inkml+xml"/>
  <Override PartName="/ppt/ink/ink118.xml" ContentType="application/inkml+xml"/>
  <Override PartName="/ppt/ink/ink119.xml" ContentType="application/inkml+xml"/>
  <Override PartName="/ppt/ink/ink120.xml" ContentType="application/inkml+xml"/>
  <Override PartName="/ppt/ink/ink121.xml" ContentType="application/inkml+xml"/>
  <Override PartName="/ppt/ink/ink122.xml" ContentType="application/inkml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3"/>
  </p:notesMasterIdLst>
  <p:sldIdLst>
    <p:sldId id="978" r:id="rId2"/>
    <p:sldId id="970" r:id="rId3"/>
    <p:sldId id="1058" r:id="rId4"/>
    <p:sldId id="1059" r:id="rId5"/>
    <p:sldId id="1060" r:id="rId6"/>
    <p:sldId id="1061" r:id="rId7"/>
    <p:sldId id="1062" r:id="rId8"/>
    <p:sldId id="1063" r:id="rId9"/>
    <p:sldId id="971" r:id="rId10"/>
    <p:sldId id="972" r:id="rId11"/>
    <p:sldId id="973" r:id="rId12"/>
    <p:sldId id="974" r:id="rId13"/>
    <p:sldId id="975" r:id="rId14"/>
    <p:sldId id="976" r:id="rId15"/>
    <p:sldId id="977" r:id="rId16"/>
    <p:sldId id="979" r:id="rId17"/>
    <p:sldId id="980" r:id="rId18"/>
    <p:sldId id="981" r:id="rId19"/>
    <p:sldId id="995" r:id="rId20"/>
    <p:sldId id="983" r:id="rId21"/>
    <p:sldId id="984" r:id="rId22"/>
    <p:sldId id="986" r:id="rId23"/>
    <p:sldId id="987" r:id="rId24"/>
    <p:sldId id="988" r:id="rId25"/>
    <p:sldId id="989" r:id="rId26"/>
    <p:sldId id="990" r:id="rId27"/>
    <p:sldId id="991" r:id="rId28"/>
    <p:sldId id="992" r:id="rId29"/>
    <p:sldId id="993" r:id="rId30"/>
    <p:sldId id="994" r:id="rId31"/>
    <p:sldId id="985" r:id="rId32"/>
    <p:sldId id="996" r:id="rId33"/>
    <p:sldId id="997" r:id="rId34"/>
    <p:sldId id="998" r:id="rId35"/>
    <p:sldId id="999" r:id="rId36"/>
    <p:sldId id="1000" r:id="rId37"/>
    <p:sldId id="1001" r:id="rId38"/>
    <p:sldId id="1002" r:id="rId39"/>
    <p:sldId id="1003" r:id="rId40"/>
    <p:sldId id="1004" r:id="rId41"/>
    <p:sldId id="1005" r:id="rId42"/>
    <p:sldId id="1007" r:id="rId43"/>
    <p:sldId id="1008" r:id="rId44"/>
    <p:sldId id="1009" r:id="rId45"/>
    <p:sldId id="1010" r:id="rId46"/>
    <p:sldId id="1011" r:id="rId47"/>
    <p:sldId id="1012" r:id="rId48"/>
    <p:sldId id="1013" r:id="rId49"/>
    <p:sldId id="1014" r:id="rId50"/>
    <p:sldId id="1064" r:id="rId51"/>
    <p:sldId id="1065" r:id="rId52"/>
    <p:sldId id="1066" r:id="rId53"/>
    <p:sldId id="1067" r:id="rId54"/>
    <p:sldId id="1068" r:id="rId55"/>
    <p:sldId id="1069" r:id="rId56"/>
    <p:sldId id="1070" r:id="rId57"/>
    <p:sldId id="1071" r:id="rId58"/>
    <p:sldId id="1074" r:id="rId59"/>
    <p:sldId id="1015" r:id="rId60"/>
    <p:sldId id="1016" r:id="rId61"/>
    <p:sldId id="1017" r:id="rId62"/>
    <p:sldId id="1018" r:id="rId63"/>
    <p:sldId id="1019" r:id="rId64"/>
    <p:sldId id="1020" r:id="rId65"/>
    <p:sldId id="1021" r:id="rId66"/>
    <p:sldId id="1022" r:id="rId67"/>
    <p:sldId id="1023" r:id="rId68"/>
    <p:sldId id="1024" r:id="rId69"/>
    <p:sldId id="1025" r:id="rId70"/>
    <p:sldId id="1026" r:id="rId71"/>
    <p:sldId id="1030" r:id="rId72"/>
    <p:sldId id="1031" r:id="rId73"/>
    <p:sldId id="1027" r:id="rId74"/>
    <p:sldId id="1028" r:id="rId75"/>
    <p:sldId id="1032" r:id="rId76"/>
    <p:sldId id="1033" r:id="rId77"/>
    <p:sldId id="1034" r:id="rId78"/>
    <p:sldId id="1029" r:id="rId79"/>
    <p:sldId id="1035" r:id="rId80"/>
    <p:sldId id="1036" r:id="rId81"/>
    <p:sldId id="1037" r:id="rId82"/>
    <p:sldId id="1038" r:id="rId83"/>
    <p:sldId id="1039" r:id="rId84"/>
    <p:sldId id="1040" r:id="rId85"/>
    <p:sldId id="1041" r:id="rId86"/>
    <p:sldId id="1042" r:id="rId87"/>
    <p:sldId id="1043" r:id="rId88"/>
    <p:sldId id="1044" r:id="rId89"/>
    <p:sldId id="1045" r:id="rId90"/>
    <p:sldId id="1046" r:id="rId91"/>
    <p:sldId id="1047" r:id="rId92"/>
    <p:sldId id="1048" r:id="rId93"/>
    <p:sldId id="1049" r:id="rId94"/>
    <p:sldId id="1050" r:id="rId95"/>
    <p:sldId id="1051" r:id="rId96"/>
    <p:sldId id="1052" r:id="rId97"/>
    <p:sldId id="1053" r:id="rId98"/>
    <p:sldId id="1054" r:id="rId99"/>
    <p:sldId id="1055" r:id="rId100"/>
    <p:sldId id="1056" r:id="rId101"/>
    <p:sldId id="1057" r:id="rId102"/>
  </p:sldIdLst>
  <p:sldSz cx="12192000" cy="6858000"/>
  <p:notesSz cx="6797675" cy="9926638"/>
  <p:custDataLst>
    <p:tags r:id="rId104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5597"/>
    <a:srgbClr val="F39C12"/>
    <a:srgbClr val="FFC000"/>
    <a:srgbClr val="2980B9"/>
    <a:srgbClr val="B9DAFF"/>
    <a:srgbClr val="003876"/>
    <a:srgbClr val="C039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09" autoAdjust="0"/>
    <p:restoredTop sz="75305" autoAdjust="0"/>
  </p:normalViewPr>
  <p:slideViewPr>
    <p:cSldViewPr snapToGrid="0">
      <p:cViewPr varScale="1">
        <p:scale>
          <a:sx n="63" d="100"/>
          <a:sy n="63" d="100"/>
        </p:scale>
        <p:origin x="1358" y="6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07" Type="http://schemas.openxmlformats.org/officeDocument/2006/relationships/theme" Target="theme/theme1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notesMaster" Target="notesMasters/notesMaster1.xml"/><Relationship Id="rId108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tags" Target="tags/tag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2:23.29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568 909,'-129'2,"-138"-4,226-1,0-2,0-2,1-1,-52-19,47 9,28 10,0 2,-1 0,-20-5,-11 5,-92-2,52 6,72 0,0-1,0 0,-31-11,-13-3,-28 4,66 11,1 0,-1-2,1-1,0-1,0 0,-22-11,39 14,0 0,0 0,1 0,-1-1,1 0,0 0,0 0,0 0,0-1,1 0,0 1,0-1,0 0,1-1,0 1,-1 0,2-1,-1 1,0-6,-2-11,2 0,0-1,3-35,0 35,-1 13,1 0,1 0,0 1,0-1,1 0,0 1,0 0,1-1,1 1,-1 1,1-1,1 1,0 0,0 0,0 0,12-9,-7 7,0 1,1 0,0 1,1 0,0 1,0 0,1 1,-1 1,1 0,22-4,214-54,-170 41,59-8,172-15,-104 18,-116 15,160-1,-145 13,115 3,-210-3,-1 1,0 1,0-1,0 2,0-1,0 1,-1 1,15 7,-19-8,1 0,-1 1,0 0,0 0,0 0,-1 1,1-1,-1 1,0 0,0 0,-1 1,0-1,1 1,2 10,52 202,-43-150,-10-46,-1 1,0 0,0 43,-5-56,1 1,-2-1,1 1,-2-1,1 0,-1 0,-1 0,0 0,0-1,-10 16,5-12,0-1,0-1,-1 0,-1 0,0-1,0 0,-1-1,0 0,-1-1,0 0,0-1,-1-1,-22 8,30-11,-175 60,152-55,0-1,0-2,-1-1,-42 0,-20-5,66 1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32.45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904 208,'-9'0,"0"-1,1-1,-1 1,0-1,-9-4,-18-4,-890-158,782 155,-213 8,224 7,-1053 0,1126-2</inkml:trace>
</inkml:ink>
</file>

<file path=ppt/ink/ink1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3.69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6'0,"7"0,13 0,8 0,4 0,-4 0</inkml:trace>
</inkml:ink>
</file>

<file path=ppt/ink/ink1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4.04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6,"0"13,0 15,0 14,0 9,6 7,2 4,0 3,-2-1,4-5,0-14</inkml:trace>
</inkml:ink>
</file>

<file path=ppt/ink/ink1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4.38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12'0,"9"0,7 0,10 0,-1 0</inkml:trace>
</inkml:ink>
</file>

<file path=ppt/ink/ink1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4.94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39,'42'-17,"48"-24,-56 24,0 1,50-14,-77 28,5-2,0 1,0 0,1 1,24-1,-35 3,1 0,0 0,0 0,0 1,-1-1,1 1,0 0,-1 0,1 0,0 0,-1 0,1 0,-1 1,0 0,1-1,-1 1,0 0,0 0,0 0,0 0,-1 0,1 0,0 1,-1-1,0 1,0-1,1 1,0 3,7 29,-2 0,-1 0,2 47,0-5,-4-34,-3-28,0 0,1 0,1 0,0 0,1-1,1 0,7 18,7-4</inkml:trace>
</inkml:ink>
</file>

<file path=ppt/ink/ink1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5.77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3 10,'-1'1,"0"-1,0 1,-1-1,1 1,0-1,0 1,0-1,0 1,1 0,-1 0,0-1,0 1,0 0,1 0,-1 0,0 0,1 0,-1 0,1 0,-1 0,1 0,-1 0,1 0,0 1,-1-1,1 0,0 2,-6 38,6-34,-2 7,0 4,0 1,1 0,3 36,-2-51,1-1,-1 0,1 1,0-1,0 1,0-1,0 0,0 0,1 1,-1-1,1 0,0 0,0-1,0 1,0 0,1-1,-1 1,1-1,-1 0,1 0,0 0,0 0,0 0,0 0,0-1,0 0,1 1,3 0,-5-2,0 0,0 1,0-1,0 0,0 0,1 0,-1 0,0 0,0-1,0 1,0 0,0-1,0 0,0 0,0 1,0-1,-1 0,1 0,0-1,0 1,1-2,0 0,-1 0,1 0,-1-1,0 1,0-1,0 1,0-1,-1 0,0 1,2-7,0-8,0-1,-1 1,-2-33,0 46,0 2,0-5,0-1,0 0,1 0,3-14,-3 21,0-1,-1 1,1-1,1 1,-1 0,0 0,1 0,-1-1,1 1,-1 0,1 1,0-1,0 0,0 0,0 1,0-1,0 1,1 0,-1 0,4-2,12-2,1 2,0 0,0 0,0 2,0 0,0 2,20 2,-5-1,4-1</inkml:trace>
</inkml:ink>
</file>

<file path=ppt/ink/ink1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6.10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6'0,"1"18,6 22,1 28,-3 19,-3 13,-2 6,-3-9,-2-15,0-16,-2-19</inkml:trace>
</inkml:ink>
</file>

<file path=ppt/ink/ink1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6.68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07 1,'-14'21,"2"0,0 1,1 1,2 0,0 0,1 1,1 0,2 1,-4 33,6-34,-1 5,2 0,0 39,3-61,-1 0,1 0,0 0,1 0,-1 0,2 0,-1 0,1 0,-1-1,2 1,-1-1,1 0,0 0,9 10,3-3,0 1,1-2,1 0,0-1,36 15,-51-24,0-1,1 0,-1 0,0 0,0 0,0-1,1 1,-1-1,0 0,1 0,-1 0,0 0,1 0,-1-1,0 0,0 1,0-1,1 0,4-3,-4 1,0 0,1 0,-1-1,-1 1,1-1,0 0,-1 0,0 0,0-1,0 1,3-7,2-8,-1 0,-1 0,0 0,-1-1,2-28,1-46,-5-119,-4 158</inkml:trace>
</inkml:ink>
</file>

<file path=ppt/ink/ink1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7.24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5'0,"9"0,7 0,6 6,3 1,4 1,0-3,2 0,-7-3</inkml:trace>
</inkml:ink>
</file>

<file path=ppt/ink/ink1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8.21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63,'4'0,"1"-1,-1 0,0 0,1 0,-1 0,0-1,5-2,13-4,18-4,1 2,1 1,58-3,-93 11,0 1,0 1,0-1,0 1,-1 0,1 1,0-1,0 1,-1 1,0-1,1 1,-1 0,0 1,0-1,-1 1,1 0,-1 1,0-1,0 1,0 0,0 1,-1-1,0 1,0-1,3 9,1 2,-2 0,0 0,-1 0,0 1,-1 0,-1 0,-1 0,0 0,-2 22,-4 29,-3-1,-20 82,17-96,-2 10</inkml:trace>
</inkml:ink>
</file>

<file path=ppt/ink/ink1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8.79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305'0,"-301"0,0 0,-1 0,1 0,-1 1,1-1,-1 1,1 0,-1 0,0 1,1-1,-1 0,0 1,0 0,0 0,0 0,0 0,0 0,-1 1,4 3,-2 0,0 0,-1 0,1 0,-2 1,1-1,-1 1,0 0,0 0,1 8,2 14,-1-1,-1 1,-1 0,-2 0,-1-1,-1 1,-8 38,9-61,-1 0,0 1,-1-1,0-1,0 1,0 0,0 0,-1-1,0 0,0 0,0 0,-1 0,0-1,0 0,-7 5,-14 5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33.57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4,"0"16,0 10,0 2,0 5,0 2,0 8,0 2,0 9,0 6,0 0,0-4,0-7,0-10,0-11</inkml:trace>
</inkml:ink>
</file>

<file path=ppt/ink/ink1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9.22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35,'18'0,"28"0,18 0,15-6,6-2,0 1,-8 1,-13 2,-10 1,-15 2</inkml:trace>
</inkml:ink>
</file>

<file path=ppt/ink/ink1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9.58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31,'6'0,"24"0,14 0,5 0,-1-5,-2-3,-4 1,-2 1,-9 2</inkml:trace>
</inkml:ink>
</file>

<file path=ppt/ink/ink1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0.04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5 0,'-6'13,"1"1,1 0,0 0,0 0,-2 26,1 76,5-89,-1 3,2 0,2 0,7 38,-8-56,1-1,0 1,1-1,0 0,1 0,1 0,-1-1,1 0,1 0,0 0,12 11,-14-17,-1 0,1 0,1-1,-1 0,0 0,1 0,0-1,0 0,-1 0,1 0,0-1,1 0,7 1,10-1,0-1,27-2,-17-1,-17 3,1-2,-1 0,0-1,29-9,-38 9,0 0,0-1,-1 1,0-2,0 1,0-1,0 0,-1 0,1-1,-1 0,8-11,8-16</inkml:trace>
</inkml:ink>
</file>

<file path=ppt/ink/ink1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0.54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8 1,'-6'0,"4"0,31 0,28 0,16 0,7 0,-10 0</inkml:trace>
</inkml:ink>
</file>

<file path=ppt/ink/ink1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1.19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57 1,'-6'0,"-13"40,-10 31,-11 26,-10 20,-8 13,-6 1,2-15,7-17,11-18,15-24</inkml:trace>
</inkml:ink>
</file>

<file path=ppt/ink/ink1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1.52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6'0,"2"6,5 2,0 5,4 1,5 3,10 17,0 19,6 24,2 16,0-2,-7-5,-8-17</inkml:trace>
</inkml:ink>
</file>

<file path=ppt/ink/ink1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1.86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29,"0"32,0 35,0 18,0 19,0 4,0-4,0-14,0-9,0-11,0-18,0-17,0-18</inkml:trace>
</inkml:ink>
</file>

<file path=ppt/ink/ink1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2.32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2,'148'-1,"167"3,-307-2,0 1,-1-1,1 2,-1-1,0 1,1 0,-1 1,0-1,10 7,-14-7,0 0,0 0,-1 0,1 0,-1 1,1-1,-1 1,0 0,0 0,0 0,0 0,-1 0,1 0,-1 0,0 1,0-1,0 1,0-1,-1 0,1 1,-1-1,0 5,0 4,-2 1,1-1,-1 0,-1-1,0 1,-1 0,-7 14,-44 81,36-72,-26 50,-54 144,91-204</inkml:trace>
</inkml:ink>
</file>

<file path=ppt/ink/ink1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2.74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6'11,"2"16,-1 21,-1 13,-2 7,-1 11,-2-3,-1-9,1-10,-2-14</inkml:trace>
</inkml:ink>
</file>

<file path=ppt/ink/ink1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3.10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6'0,"8"0,7 0,6 0,3 0,-2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34.43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499'0,"-498"0,4 0,0 0,0 0,0 1,0 0,9 2,-13-3,0 0,0 1,-1-1,1 1,0-1,-1 1,1-1,0 1,-1-1,1 1,-1-1,1 1,-1 0,1-1,-1 1,1 0,-1 0,0-1,1 1,-1 0,0 0,0-1,0 1,1 0,-1 0,0 0,0 0,0-1,0 1,0 0,-1 0,1 0,0-1,0 1,0 0,-1 0,1 0,0-1,-1 1,1 0,-1-1,1 1,-1 0,0 0,-6 10,0-1,-1 0,0 0,0-1,-1 0,0 0,-12 8,-79 51,75-52,-8 5</inkml:trace>
</inkml:ink>
</file>

<file path=ppt/ink/ink1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3.63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02 1,'-2'1,"0"0,0 0,1 0,-1 1,1-1,-1 1,1-1,-1 1,1 0,0 0,0-1,0 1,0 0,0 0,0 0,1 0,-1 0,1 0,-1 3,-4 6,-53 118,12-30,-52 161,34-83,63-175,0 0,0-1,0 1,1 0,-1-1,1 1,0 0,-1 0,1 0,0-1,0 1,0 0,0 0,0 0,1-1,-1 3,1-2,1-1,-1 1,0-1,0 0,1 1,-1-1,1 0,-1 0,1 1,-1-1,1-1,0 1,-1 0,1 0,0-1,0 1,2 0,35 9,0-2,0-2,80 2,-60-4,-49-4,311 27,-251-19</inkml:trace>
</inkml:ink>
</file>

<file path=ppt/ink/ink1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4.40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12'0,"26"12,19 15,22 32,16 34,8 20,-8 1,-7-7,-8-5,-12-13,-12-10,-15-14,-3-12,-2-8,-8-7,-8-10</inkml:trace>
</inkml:ink>
</file>

<file path=ppt/ink/ink1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1:04.82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839 1,'-5'5,"-9"15,-12 20,-8 15,-10 4,-8 9,-25 22,-28 19,-8 7,5-3,14-16,17-24,22-19,21-19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35.04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4'0,"5"0,5 0,3 0,4 0,-3 4,1 1,-1 0,-2-1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35.48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0'4,"0"9,0 10,0 8,0 4,0-1,0-6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35.98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4,'7'0,"15"0,11 0,8 0,0-4,-3-1,-3 0,-5 1,1 1,-1 1,-2 1,-2 1,-5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36.90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0'11,"0"8,0 9,0 7,0 9,0 8,0 8,0-3,0-4,0-6,0-4,0-6,0 0,0-4,0-3,0-3,0-6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37.62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39 0,'0'4,"0"13,-4 11,-5 8,-1 3,1-3,2-2,-2-4,-2-3,0-2,-2-6,1-1,3-1,-1 1,-3-3,1-3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2.16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4,"8"13,6 7,1 3,2 6,2-4,1-3,-3-1,-4-6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2.66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4'0,"6"0,4 0,3 0,8 0,6 0,3 0,-2 0,2 0,-1 0,-5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2:24.60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84,'11'-1,"0"0,-1-1,1-1,0 1,-1-2,13-5,-10 4,0 0,0 1,22-3,10 1,62-5,154-39,-236 43,37-11,0 3,0 3,100-8,392 19,-253 3,160 8,-112 0,95 2,188 1,-510-15,138 5,-136 5,165 6,-138-14,-122-1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3.05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4 1,'0'15,"0"21,0 16,0 10,0 7,0-1,0-9,0-9,0-11,0-7,0-1,-4 1,-1 7,0 0,1-1,1-5,1-7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3.65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 1,'-1'111,"3"123,-3-231,2 1,-1 0,0-1,1 1,0-1,-1 1,1-1,1 0,-1 1,0-1,1 0,0 0,0 0,0 0,0 0,0 0,0 0,6 4,-2-4,-1 0,1 0,-1-1,1 0,0 0,0 0,0-1,0 0,1 0,6 0,190 1,-199-2,34-1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4.43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4,"0"13,4 11,1 4,0 2,-1-2,-1 1,3 0,0-7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4.85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62,'35'0,"38"0,30 0,9-4,-3-5,-12-5,-19 0,-19 2,-19 3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5.52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09 0,'-6'2,"-1"-1,0 1,0 0,1 1,-1 0,1 0,0 0,0 0,0 1,0 0,-6 6,-6 3,4-4,2-1,-1 2,1 0,0 0,-11 15,20-22,1 0,0 0,0 0,0 0,0 1,0-1,1 1,-1-1,1 1,0-1,1 1,-1 0,0 0,1-1,0 1,0 0,0 0,0 0,1-1,-1 1,1 0,0 0,0-1,1 1,-1-1,1 1,2 3,0-1,0 0,1 0,0 0,0 0,1-1,-1 0,1 0,0-1,1 1,-1-1,1-1,0 1,0-1,0 0,0-1,0 0,12 2,11 2,1-2,58 0,-75-4,0 0,0-1,-1 0,1-1,23-7,-34 9,0-1,0 0,-1 0,1-1,-1 1,1 0,-1-1,1 1,-1-1,0 0,0 0,0 0,0 0,0 0,0-1,0 1,-1 0,1-1,-1 1,0-1,0 0,0 1,0-1,0 0,-1 0,1 1,-1-1,1 0,-1 0,0 0,0 0,-1 0,1 1,-1-4,0-3,-1 0,0 0,-1 1,0-1,0 1,-1-1,0 1,0 0,-1 1,0-1,0 1,-1 0,-8-8,1 4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6.54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11'54,"8"102,-10-63,23 397,-22-347,1 35,-11-165,1 0,1 1,4 15,-2-11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6.91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21,'4'0,"9"0,6 0,4-4,1-1,2 0,-1 1,-4 1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47.63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0'572,"2"-554,0 1,2-1,0 0,0 0,2 0,0-1,1 0,1 0,13 21,-8-17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32:13.95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709 295,'-33'54,"-80"98,-58 37,71-91,-4-5,-4-4,-187 117,-388 170,-313 65,963-428,-28 13,60-25,0-1,1 0,-1 0,1 1,-1-1,0 0,1 1,-1-1,1 1,-1-1,1 0,-1 1,1-1,0 1,-1 0,1-1,0 1,-1-1,1 1,0 0,0-1,-1 1,1-1,0 1,0 0,0-1,0 1,0 0,0-1,0 1,0 0,0-1,0 1,0 0,0-1,1 1,-1 0,0-1,0 1,1-1,-1 1,0-1,1 1,-1 0,1-1,-1 1,1-1,-1 0,1 1,-1-1,1 1,-1-1,2 1,36 20,-35-19,65 26,1-2,1-4,138 26,221 2,-43-7,-286-22,-57-11,57 6,-97-16,0 0,0 1,-1-2,1 1,0 0,0 0,0-1,0 0,0 1,-1-1,1 0,0 0,-1-1,1 1,-1-1,1 1,-1-1,1 0,1-2,-1 0,0 0,0 1,-1-1,1-1,-1 1,0 0,-1 0,1-1,-1 1,2-10,0-7,-2-1,0 0,-2 1,-3-25,4 40,-4-23,-1 0,-2 0,0 1,-20-48,-60-104,72 151,-748-1553,720 1483,40 91,0 1,0 0,-1-1,0 2,-4-8,8 14,-1-1,1 1,0 0,0 0,0-1,-1 1,1 0,0-1,0 1,-1 0,1 0,0 0,-1-1,1 1,0 0,-1 0,1 0,0 0,-1 0,1 0,0-1,-1 1,1 0,-1 0,1 0,0 0,-1 0,1 0,0 1,-1-1,1 0,0 0,-1 0,0 0,0 2,0-1,0 1,0-1,0 1,1-1,-1 1,0-1,1 1,-1 0,1-1,-1 1,1 3,-7 51,2 0,4 76,2-55,-24 855,-60 6,52-722,-24 195,55-404,-2 3,1 1,0 0,1-1,0 1,1-1,2 15,-3-24,1 1,-1 0,1-1,0 1,-1-1,1 1,0-1,0 0,0 1,0-1,0 0,0 0,1 0,-1 1,0-1,1 0,-1-1,0 1,3 1,-2-1,1-1,0 1,0-1,0 0,0 1,0-2,0 1,0 0,0 0,0-1,0 0,-1 1,1-1,5-2,10-6,0 0,-1-1,1-1,-2 0,21-19,-13 11,455-379,-260 212,752-671,-948 835,70-73,-86 86,0 0,0-1,0 0,-1 0,-1-1,0 1,0-1,4-19,-7 23,-1-1,0 0,-1 1,0-1,0 0,-1 1,0-1,0 0,-4-14,3 17,0 0,0 0,0 0,-1 0,1 0,-1 1,0-1,-1 1,1 0,-1 0,0 0,0 0,0 1,-7-5,-2 1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32:15.35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576 100,'-365'331,"-17"-21,148-123,163-129,-437 377,507-434,0 0,-1 0,1 0,0 0,0 0,0 0,0 1,0-1,0 0,1 0,-1 1,0-1,1 1,-1-1,0 1,1-1,0 1,-1 2,2-2,0-1,0 1,0-1,0 1,0-1,0 0,0 1,0-1,1 0,-1 0,1 0,-1 0,1 0,-1 0,1 0,-1 0,1-1,2 1,26 11,1-2,1-2,0 0,36 3,-55-9,1516 144,-1505-145,136 1,-157-2,0 0,-1 0,1 0,-1-1,1 1,-1-1,1 1,-1-1,1 0,3-2,-5 3,-1-1,0 1,1 0,-1-1,0 1,1-1,-1 1,0 0,1-1,-1 1,0-1,0 1,0-1,0 1,1-1,-1 1,0-1,0 1,0-1,0 1,0-1,0 1,0-1,0 1,0-1,0 1,-1-1,1 1,0-1,0 1,0-1,-1 0,-3-5,-1 0,1 0,-2 1,1-1,-11-8,14 13,-94-83,-322-291,230 199,-492-491,456 388,207 259,17 20,0 0,0 0,-1 0,1 0,0 0,0-1,0 1,0 0,0 0,-1 0,1 0,0 0,0 0,0 0,0 0,-1-1,1 1,0 0,0 0,0 0,0 0,-1 0,1 0,0 0,0 0,0 0,-1 0,1 0,0 0,0 0,0 0,0 1,-1-1,1 0,0 0,0 0,0 0,0 0,-1 0,1 0,0 0,0 1,0-1,0 0,0 0,0 0,-1 0,1 1,0-1,0 0,-1 7,1-1,0 1,0 0,2 13,0-4,13 144,5 82,-19-231,73 860,74-3,-145-857,0 4,0 0,2-1,-1 1,2-1,0 0,8 13,-13-25,0-1,0 1,0-1,0 0,0 1,1-1,-1 0,0 0,1 1,-1-1,0 0,1-1,0 1,-1 0,1 0,-1-1,1 1,0 0,0-1,-1 0,1 1,0-1,0 0,-1 0,1 0,0 0,0 0,-1-1,1 1,0-1,1 0,3-1,-1 0,0-1,0 0,-1 0,1-1,-1 1,0-1,1 0,3-5,25-31,-1-2,47-80,41-108,-98 186,400-869,-339 745,-13 28,-60 118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2:41.47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866 1138,'-46'-1,"-1"-3,1-2,1-1,-1-3,1-1,1-3,0-1,-46-24,-52-24,117 48,2-1,-36-32,14 10,38 32,1 0,0 0,1 0,-1-1,1 0,0 0,1-1,0 1,0-1,-5-16,-1-7,-8-52,7 26,4 17,1 0,2-1,3 0,5-73,-4 108,1-1,0 1,1-1,-1 1,1-1,0 1,1 0,0 0,0 0,0 1,0-1,1 0,0 1,0 0,1 0,7-6,5-2,0 1,1 0,36-16,-36 19,27-11,1 1,1 3,1 1,0 3,1 2,52-5,-56 10,171-11,-141 14,-40 1,0 0,0 3,67 10,-91-9,0 0,0 0,-1 1,0 1,1 0,-2 0,1 1,-1 0,0 1,0 0,0 0,-1 1,0 0,-1 0,0 1,0 0,-1 1,8 14,8 21,-2 1,-2 1,-2 0,-3 2,-1-1,-2 1,-3 1,-2 0,-2 89,-4-134,0 1,0-1,0 1,-1-1,0 1,0-1,-1 0,1 0,-1 0,0 0,-1-1,1 1,-1-1,0 0,0 0,0 0,0 0,-1-1,1 1,-1-1,-8 3,-9 5,-1-1,1-1,-39 9,-267 81,294-91,-1-2,-61 4,59-7,9 0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32:16.45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09 0,'-201'450,"161"-322,-19 46,50-155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22:37.72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002 92,'-7'22,"0"-1,-1 0,-19 33,7-15,-137 259,-266 379,93-194,323-474,-7 15,13-23,1 0,0 0,0 1,0-1,0 0,0 0,0 0,0 0,0 0,0 1,0-1,1 0,-1 0,0 0,1 0,-1 0,1 0,-1 0,1 0,0 0,-1 0,3 2,8 8,0 0,1-1,0 0,26 14,50 29,2-4,140 54,-108-58,198 45,-165-59,2-6,266 6,-421-31,10 1,0 0,-1-1,1-1,0 0,-1-1,1 0,-1-1,1 0,11-5,-21 7,-1 1,0-1,1 0,-1 0,0 0,0 0,0 0,0 0,0 0,0 0,0 0,0-1,0 1,0 0,-1-1,1 1,0-1,-1 1,1-1,-1 1,0-1,0 1,1-1,-1 1,0-1,0 1,0-1,0 1,-1-1,1 1,0-1,-1 1,1-1,-1 1,1-1,-1 1,-1-2,-3-7,-1 1,0 0,-1 0,-10-10,8 9,-277-317,-232-293,448 523,4-2,5-4,4-2,-75-197,105 230,-2 1,-4 1,-2 2,-80-113,105 172,9 9,1 1,0-1,-1 1,1 0,0-1,0 1,0 0,0-1,0 1,0 0,0-1,0 1,0 0,0 0,0-1,0 1,0 0,0-1,1 1,-1-1,1 2,54 192,9 36,-27-32,13 218,-19 208,-48 409,15-980,-1 85,5-130,3-14,5-26,140-479,37-137,-41-14,-94 191,-45 394,0-27,12-96,-17 181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22:39.86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152 100,'0'0,"1"0,-1 0,1 0,-1 1,1-1,-1 0,0 0,1 1,-1-1,1 0,-1 1,0-1,1 0,-1 1,0-1,0 0,1 1,-1-1,0 1,0-1,0 0,1 1,-1-1,0 1,0-1,0 1,0-1,0 1,0-1,0 1,0-1,0 1,0-1,0 1,0-1,0 1,0-1,-1 0,1 1,0 0,-8 25,-4 1,-1-1,-1 0,-32 45,-67 70,89-112,-292 339,160-195,-84 101,196-218,3 1,3 3,-35 71,70-126,0 1,1-1,-1 1,1 0,0 0,1 0,-1 0,1 0,1 0,-1 0,1 1,1 10,0-13,1 0,-1 1,1-1,1 0,-1 0,0 0,1-1,0 1,0-1,0 1,0-1,1 0,-1 0,1 0,0-1,0 1,0-1,7 3,18 9,1-1,0-1,1-2,39 8,132 15,-182-31,159 19,0-8,256-14,-432 2,-1-1,0 0,0 0,0 0,0-1,0 1,1 0,-1-1,0 0,0 1,0-1,0 0,0 0,0 0,-1 0,1 0,0-1,0 1,-1 0,1-1,-1 1,1-1,1-2,-3 1,1 0,-1 0,0 0,0 0,0 0,0 0,0 0,-1 0,1 1,-1-1,0 0,0 0,0 0,0 0,0 1,-4-6,-21-36,-1 2,-63-73,16 22,-76-120,9-7,10-5,-142-335,177 306,86 226,9 26,1 5,4 18,3 16,78 414,-24 12,-45 407,-72-3,52-818,2 3,-3-1,-3 1,-14 54,22-105,0 0,-1 0,1 0,0 0,0 0,0 0,-1-1,1 1,0 0,-1 0,1 0,-1-1,1 1,-1 0,1-1,-1 1,1 0,-1-1,0 1,1-1,-2 2,1-4,1 1,-1-1,1 1,-1-1,1 1,0-1,-1 0,1 1,0-1,0 1,0-1,0 1,1-3,4-43,1 1,3 0,15-49,-11 47,202-635,32-131,-150 285,-68 350,34-96,-56 254,0 6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33:01.03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361,'27'1,"43"8,13 1,268-6,412-47,335-103,-1033 136,247-34,-220 35,127 4,-85 18,5-1,690-7,-484-7,-85-15,-94 3,512 3,-3 35,-211-5,77-18,-267-3,-211 1,-37-1,1 1,-1 1,0 2,0 1,0 0,35 11,-60-12,-8-2,-12-1,-1-5,1 0,-1 0,1-2,1 0,0-2,0 0,0-1,1 0,1-1,0-1,1-1,0 0,1-1,1-1,1 0,0-1,0 0,2 0,0-1,2-1,0 0,0 0,2 0,1-1,0 0,1 0,-1-33,10-305,-4 336,1 1,1-1,0 1,14-41,-15 55,1 0,0 0,0 0,1 1,0 0,0-1,0 1,1 1,0-1,0 1,0 0,1 0,0 0,0 1,0 0,0 0,1 0,7-3,16-2,1 2,-1 1,1 1,42-1,-18 1,170-18,477-42,-583 63,-103 3,0 1,0 1,0 0,-1 1,22 8,72 30,-35-15,104 53,-167-71,0 1,0 0,-1 0,0 1,-1 0,0 1,12 21,-9-12,-1 0,0 1,-2 1,0-1,-2 1,-1 1,5 31,9 171,-20-221,3 235,-3-235,0 0,0 0,-1 0,0 1,0-1,0 0,-1 0,1-1,-1 1,0 0,-1 0,1-1,-6 8,1-5,0 1,-1-1,0 0,0-1,-18 11,-27 16,-3-3,-86 36,109-54,-1-1,0-2,0-1,-1-1,0-3,-39 2,-331 16,190-7,-100-12,173-4,119 1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33:04.37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548,'15'0,"468"-14,36-23,110 19,-614 19,1 0,-1 1,1 1,-1 0,0 1,0 1,17 7,-8-2,-1-2,1 0,0-2,44 6,102-1,-137-10,768 6,-596-9,-50-5,164-30,-39 2,1136-3,-1359 36,-1-2,62-13,50-4,-139 19,433-17,-374 19,-87 0,-1 0,1 0,-1 0,1 0,-1-1,1 1,-1 0,1 0,-1 0,1 0,-1 0,1-1,-1 1,0 0,1 0,-1-1,1 1,-1 0,0-1,1 1,-1 0,1-1,-1 1,0-1,0 1,1-1,-1 1,0-1,0 1,0 0,1-1,-1 1,0-1,0 1,0-1,0 0,0 1,0-1,0 1,0-1,0 1,0-1,0 1,0-1,-1 1,1-1,0 1,0 0,0-1,-1 1,1-1,0 1,-1-1,1 1,0 0,-1-1,1 1,-1-1,-24-29,-157-138,-13-14,156 142,3-1,-56-82,86 114,1-1,0 0,0 0,1-1,1 1,-1-1,2 0,-1 0,0-16,2-2,2-1,4-35,-2 32,-1 18,0 0,1 1,0-1,1 1,1 0,0 0,1 1,1-1,0 1,15-21,-11 20,1 0,1 1,0 0,1 1,0 1,1 0,0 1,25-12,11-2,2 2,0 2,82-18,172-20,-220 44,-31 4,104-13,-145 22,1 1,0 0,0 1,0 1,0 0,-1 1,30 10,37 24,100 61,13 7,-180-98,3 1,0 1,23 15,-35-19,0-1,-1 2,1-1,-1 0,0 1,0 0,0 0,-1 1,6 11,45 102,30 59,-68-147,18 47,-30-64,-1 0,0 0,-1 0,0 1,0 28,-3-27,0 0,-1 1,-1-1,-6 28,5-38,1 1,-1-1,0 0,-1 0,0-1,0 1,0-1,-1 0,0 0,0 0,-1-1,1 1,-9 4,-34 22,-2-2,-1-3,-71 27,67-29,-5-1,0-3,-1-2,0-3,-2-3,-69 6,-322-3,439-16,0 0,0 1,0 0,0 1,0 1,-22 7,17-1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41.87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0'11,"4"24,5 25,5 17,0 15,2 16,-3 19,-2 16,-4 10,-3-13,2-19,-1-22,0-24,-2-25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09.20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9'1,"-1"0,1 0,0 1,-1 0,1 0,-1 1,1 0,-1 1,0 0,-1 0,1 1,-1 0,0 0,0 1,0-1,7 10,2 3,0 1,-1 1,-1 0,19 36,-26-40,0 0,0 1,-2-1,0 1,-1 0,-1 1,0-1,-1 1,-1-1,-2 30,0-35,0 0,-1 0,0-1,-1 1,-1-1,1 1,-2-1,0 0,0-1,-1 1,0-1,0 0,-1 0,-1-1,0 0,-12 11,8-12,9-6,0 0,0-1,1 1,-1 0,1 1,-1-1,1 0,-1 1,1-1,0 1,0 0,-2 4,4-6,1-1,-1 1,0-1,0 1,1-1,-1 1,0-1,1 1,-1-1,1 0,-1 1,1-1,-1 1,1-1,-1 0,1 0,-1 1,1-1,-1 0,1 0,-1 0,1 1,-1-1,1 0,0 0,-1 0,1 0,-1 0,1 0,0 0,24 1,-23-1,269-4,-252 4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25.23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15'2,"0"0,-1 1,1 1,-1 0,0 1,0 1,18 9,-7-4,-2 0,0 0,-1 2,0 0,-1 2,-1 0,0 1,-1 1,30 34,-41-40,0-1,0 2,-1-1,0 1,-1 0,0 0,-1 1,0 0,-1 0,-1 0,0 0,-1 1,0-1,-1 1,-1-1,0 1,-1-1,-2 16,-3-5,0 1,-2-1,-1 0,-1 0,-1-1,-24 38,14-30,-2 0,-1-1,-52 49,53-60,0-1,-47 26,51-33,19-11,-1 0,1 0,0 0,0 0,-1 0,1 0,0 0,0 0,-1 0,1 0,0 1,0-1,0 0,-1 0,1 0,0 0,0 0,0 1,-1-1,1 0,0 0,0 0,0 1,0-1,0 0,-1 0,1 0,0 1,0-1,0 0,0 0,0 1,0-1,0 0,0 0,0 1,0-1,0 0,0 0,0 1,0-1,0 0,0 0,0 0,0 1,0-1,0 0,1 0,-1 1,0-1,0 0,0 0,0 0,0 1,1-1,-1 0,0 0,22 6,31-3,205-7,-238 4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40.73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10'54,"-3"0,-2 1,-4 97,-1-72,-1 975,13-894,-2-28,-10-6,2 41,-2-166,0 0,1-1,-1 1,1 0,-1 0,1-1,0 1,-1 0,1-1,0 1,0-1,1 1,-1-1,0 1,0-1,1 0,-1 0,0 1,1-1,0 0,-1 0,1-1,-1 1,1 0,0 0,2 0,6 2,0-1,0 0,18 0,-18-1,485 6,-317-10,3831-3,-2265 8,-1506 0,270-4,-95-21,-122 5,787-10,-777 20,48 1,446 72,-643-48,-139-16,0 1,0-1,1 0,20-2,-32 1,1-1,-1 1,0 0,1-1,-1 1,1-1,-1 0,0 0,1 0,-1 0,0 0,0-1,0 1,0 0,0-1,0 0,0 1,-1-1,1 0,-1 0,1 0,-1 0,0 0,1 0,0-5,3-17,-1-2,-1 1,-1 0,-2-1,-3-31,2-17,40-581,-19 398,4 62,-12 116,3-129,-17-170,2 359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12.67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06 1,'-40'733,"-55"-6,64-593,20-96,2 0,-5 43,11-58,1 1,1-1,2 0,0 0,1 1,1-1,13 44,0-11,-11-33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2:43.19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79,'51'0,"538"-18,-88-20,-67 6,-212-4,-90 12,-7 8,179 1,125 27,-228-4,20 3,138 2,-170-15,289 35,-425-25,229 24,-248-31,0-1,0-2,0-1,0-2,0-1,40-13,-44 9,0 1,1 2,0 2,0 0,0 2,40 2,259 3,-279-2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15.53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338,'808'-41,"-513"20,592-20,30-2,-2-52,-792 79,209-3,904 31,-83 0,1142-10,-1288-2,-968-3,0-1,-1-2,1-2,72-25,-12 4,-96 28,-1 0,1 0,-1 1,1-1,-1 1,1 0,-1 0,1 0,-1 0,1 0,-1 0,1 1,-1-1,0 1,1 0,-1 0,5 2,-4 0,0-1,0 1,0 0,0 1,-1-1,0 0,1 1,-1-1,0 1,3 7,11 35,-2 0,-2 1,11 83,-14-77,10 61,53 285,-28-78,-28 7,-5-142,-3 153,-8-334,0 0,-1 1,1-1,-1 0,0 0,0 0,-1 0,1 0,-1-1,0 1,0 0,-1-1,1 1,-1-1,0 0,0 0,-1 0,1 0,-1-1,0 1,0-1,0 0,0 0,0-1,-1 1,0-1,1 0,-1 0,0 0,0-1,0 1,0-1,-6 0,-27 5,-1-1,-74-1,-86-15,82 3,-145 1,-296 31,-264 71,-1507 67,545-164,580-2,917 6,-330-4,350-10,-114 0,-100-5,-373-10,853 27,-36 0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18.50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9'43,"-1"-8,19 303,-27-165,1 27,7-138,-3-42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0.00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27'421,"38"-2,-38-272,-7 1,2 220,-12-231,-1-52,0 31,6 124,-14-209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0.76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1'0,"0"1,0 0,-1 0,1 0,0 0,0 0,0 0,-1 0,1 0,0 0,-1 0,1 0,-1 0,0 0,1 1,-1-1,0 0,0 0,1 3,0 2,16 63,15 134,-12 75,-18-243,6 236,9 111,-15-357,-1-1,2 0,0 0,1 0,14 42,7 0,-17-47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1.67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94 0,'3'4,"0"1,0-1,0 1,-1-1,0 1,0 0,0 0,-1 0,0 0,1 0,-2 1,1 5,1 0,10 91,-3 192,-9-209,1 47,-4 446,-3-508,-3 0,-3-1,-35 114,11-48,25-75,2 0,3 0,3 1,5 82,-1-123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5.08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1'14,"2"0,-1-1,2 0,0 0,0 0,11 21,-4-10,10 34,26 109,-4 63,-28-137,1 11,-5 0,-4 147,-8 586,19-556,-15-260,1 0,1 0,11 31,-6-26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6.25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05 1,'169'72,"-145"-60,-18-10,0 1,-1 0,1 1,-1 0,0 0,1 0,-2 0,1 1,0 0,-1 0,4 5,-4-2,0 0,0 0,-1 0,0 1,0-1,-1 1,3 16,1 18,-2 0,-2 0,-2 1,-2-1,-2 0,-1 0,-2-1,-19 59,22-90,0-1,-1 0,-1 0,1-1,-2 0,1 0,-1 0,-10 9,-9 6,-35 26,24-20,-117 95,153-124,-1-1,1 1,-1 0,1 0,0 0,0 1,0-1,0 0,0 0,0 1,0-1,0 0,0 1,0-1,1 1,-1-1,1 1,-1 2,1-3,1 0,0 1,0-1,0 0,0 0,0 0,0 0,0 0,0 0,0-1,1 1,-1 0,0 0,0-1,1 1,-1-1,1 1,-1-1,0 0,1 0,-1 1,3-1,32 6,1-1,52-1,-19-1,563 75,-9 46,-516-101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7.18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45'6,"0"2,0 2,45 16,122 56,-204-79,262 121,-212-94,-1 4,78 60,-125-87,0 1,-1 1,0 0,11 14,-18-21,0 1,-1-1,1 0,-1 1,0-1,0 1,0-1,0 1,0-1,-1 1,1 0,-1-1,0 1,0 0,1-1,-2 1,1 0,0 0,-1-1,1 1,-1-1,0 1,1 0,-1-1,-1 1,0 2,-3 1,0 1,0-1,-1 0,1 0,-1-1,0 0,-1 0,1 0,-9 4,-69 32,75-37,-17 7,-1-1,0 0,0-3,-1 0,0-1,-49 3,75-10,0 1,-1 0,1 0,0 0,-1 1,1-1,0 0,-1 1,1 0,0-1,0 1,0 0,-1 0,1 0,0 1,-3 2,4-4,1 1,0 0,-1-1,1 1,0 0,0 0,0-1,-1 1,1 0,0 0,0 0,0-1,0 1,0 0,0 0,0-1,1 1,-1 0,0 0,1 0,15 26,-1-10,1-1,1-1,33 25,67 34,1 2,-114-73,1 1,-1-1,0 1,0 0,0 0,0 1,-1-1,0 1,0-1,0 1,0 0,-1 0,0 0,0 1,0-1,1 9,-2-7,0 1,-1 0,-1-1,1 1,-1-1,0 1,-1 0,0-1,0 0,-6 14,-2-1,-1-1,-1 0,0-1,-2 0,0-1,-1 0,-22 19,12-16,0 0,-1-2,-44 24,69-41,0 0,0-1,-1 1,1 0,0 0,-1-1,1 1,0 0,-1-1,1 1,-1-1,1 0,-1 0,1 1,-1-1,1 0,-1 0,1 0,-1 0,1-1,-1 1,1 0,-1-1,-1 0,2 0,1-1,0 1,-1-1,1 0,0 1,0-1,0 1,0-1,0 1,0-1,0 1,1-1,-1 1,1-1,-1 1,1-1,-1 1,1-1,0 1,-1 0,1-1,2-1,22-38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7.83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39 0,'-5'12,"-1"0,-1-1,0 0,0 0,-1 0,0-1,-18 16,-1 4,-24 27,21-25,2 1,-29 46,43-58,-24 42,35-57,0 1,0-1,1 1,0-1,0 1,0 0,-1 12,4-15,-1-1,1 1,-1 0,1-1,0 1,0-1,1 1,-1-1,1 0,0 1,0-1,0 0,0 0,0 0,0-1,6 6,3 2,1-1,22 15,7 0,1-2,1-2,1-2,76 22,190 29,-308-68,28 5,18 4,0-3,75 4,-90-14,-33 2,1 1,-1 0,1 0,-1 0,1-1,-1 1,1 0,-1-1,1 1,-1 0,0-1,1 1,-1 0,0-1,1 1,-1-1,0 1,1-1,-1 1,0-1,0 1,0-1,1 1,-1-1,0 1,0-1,0 1,0-1,0 1,0-1,0 0,0 1,0-1,0 1,-1-1,1 1,0-1,0 1,0-1,-1 1,1-1,0 1,0-1,-1 1,1 0,0-1,-1 1,1-1,-1 1,1 0,0-1,-2 1,-53-59,20 25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8.34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4'0,"5"7,5 23,3 24,0 39,0 34,2 22,-3-6,-4-16,0-26,-3-26,-2-22,-2-8,-3-5,-1 3,-1 2,0-7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6:08.62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817 1187,'-612'13,"504"-6,1-6,-204-22,232 10,44 8,-1-2,0-2,1-1,-61-23,82 26,-1 1,0 0,0 1,-18-2,20 4,1-1,-1 0,1-1,-1 0,1-1,-22-11,22 6,0 0,1-1,0-1,1 0,0-1,1 0,0 0,1-1,1 0,-7-14,6 8,1-1,0 0,1 0,2-1,-4-32,1-108,6 127,1-1,2 1,1-1,2 1,1 0,11-37,-10 49,1 0,1 1,1 0,0 1,2 0,0 0,1 1,26-28,-28 37,0 1,1 0,0 0,1 1,0 0,17-7,0 3,57-17,-48 21,1 3,-1 1,1 2,67 5,-28-1,-33 0,0 2,0 2,-1 2,46 14,174 68,-66-20,-182-64,0 1,-1 1,0 0,0 1,20 15,67 62,-23-18,-36-36,-28-21,0 0,-1 1,0 1,23 26,-35-35,0 1,0 0,-1 1,0-1,0 0,-1 1,1-1,-1 1,0-1,-1 1,1-1,-1 1,-1 8,-1 10,-8 40,8-57,1 1,-1 0,-1 0,0 0,0 0,0 0,-1-1,0 1,0-1,-11 13,4-9,-1 1,0-2,-1 0,-18 12,-60 42,-73 45,121-85,7-3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8.78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8'0,"6"4,5 1,7 0,6-1,6-1,8-2,0 0,0 3,-4 2,-6-2,-8 0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9.43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16,"0"0,0 0,2 1,0-1,1 0,0 0,2 0,-1-1,2 0,0 1,13 20,11 14,3-1,2-2,72 76,-85-103,1-1,0-1,1-2,32 18,107 43,-160-76,0 0,-1 0,1 0,-1 0,0 0,0 1,1-1,-1 1,3 2,-5-3,1 0,-1 0,1 0,-1 0,0 0,0-1,1 1,-1 0,0 0,0 0,0 0,0 0,0 0,0 0,0 0,0 0,-1 0,1 0,0 0,-1 0,1 0,0-1,-1 1,1 0,-1 0,1 0,-1-1,-1 2,-15 21,-2-2,-1-1,0 0,-37 26,-9 10,23-15,11-7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30.45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72 0,'-12'6,"-1"0,2 1,-1 0,1 1,0 0,0 1,1 0,0 1,-15 21,0-2,3 2,0 0,-30 60,-37 113,81-181,1 1,1 0,1 0,1 1,-1 45,12 122,-7-189,0 0,1 0,-1 0,1 1,-1-1,1 0,0 0,0 0,1 0,-1 0,1 0,-1-1,1 1,0 0,4 4,-4-6,0 1,1-1,-1 0,0 0,1 0,-1 0,1 0,-1-1,1 1,-1-1,1 1,-1-1,1 0,0 0,-1 0,1-1,-1 1,1 0,-1-1,3 0,4-2,-1 1,0-1,0 0,-1-1,1 0,-1 0,1-1,-1 0,-1 0,8-7,-11 9,1-1,-1 0,1 0,-1 0,-1 0,1 0,0 0,-1-1,0 1,0-1,-1 0,1 0,-1 1,0-1,0 0,0 0,-1 0,0-8,-2-1,0 1,-2-1,1 0,-2 1,1-1,-2 1,0 1,0-1,-2 1,1 0,-18-20,11 18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32.56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5 0,'-1'4,"-8"22,0 0,2 1,1 0,1 1,-2 34,8-57,-1 0,1 0,1 0,-1 0,1 0,0 0,0 0,0 0,1-1,0 1,0-1,0 1,0-1,0 0,1-1,0 1,0 0,0-1,5 3,12 9,1-2,36 17,-45-23,25 13,-26-12,1-1,0 0,0-1,1-1,0 0,0 0,28 4,-40-9,0-1,-1 1,1-1,0 1,0-1,0 0,0 0,0 0,-1 0,1 0,0 0,-1 0,1-1,-1 1,0-1,1 1,-1-1,0 1,0-1,0 0,0 0,0 1,0-1,0 0,-1 0,1 0,-1 0,1 0,-1 0,0-2,3-11,-1 0,0-27,-1 37,-1-8,-1-1,1 0,-2 1,0-1,-1 1,0-1,-9-22,9 31,1-1,-1 1,0-1,-1 1,1 0,-1 0,0 0,0 1,0-1,-1 1,0 0,0 0,0 1,0 0,0-1,-1 2,1-1,-1 1,-8-3,-54-16,48 13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34.65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0,'0'-1,"0"0,0 0,1 1,-1-1,0 0,1 0,-1 1,1-1,-1 0,1 0,-1 1,1-1,0 0,-1 1,1-1,0 1,-1-1,1 1,0-1,0 1,0 0,-1-1,1 1,0 0,0 0,0-1,1 1,26-4,-7 6,-1 1,1 1,-1 1,0 1,-1 0,1 1,22 13,-9-6,-12-5,10 3,0 2,36 23,-59-32,0 0,0 1,-1 0,0 0,0 1,-1 0,1 0,-1 0,-1 1,0 0,0 0,7 17,-7-11,-1 0,0 0,-1 0,0 1,-1 0,-1-1,0 1,-1 0,-1 0,-3 21,2-28,0 0,0 0,-1-1,0 1,0-1,0 0,-1 0,0 0,-1 0,0 0,0-1,0 0,-1 0,1-1,-1 1,-1-1,1 0,-1-1,0 0,-11 6,-15 3,-29 14,57-25,1 1,-1-1,1 1,0 1,0-1,0 0,0 1,1 0,-6 8,8-11,0 0,1 1,-1-1,0 0,1 1,0-1,-1 0,1 1,0-1,0 1,0-1,0 0,0 1,0-1,0 1,0-1,0 0,1 1,-1-1,1 1,-1-1,1 0,-1 0,1 1,0-1,0 0,0 0,-1 0,3 2,2 2,-1-1,1 0,0-1,0 1,1-1,5 3,23 10,0-3,1 0,0-2,40 6,150 17,-208-31,239 17,-228-20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35.95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8'0,"6"0,5 0,7 0,2 0,5 0,4 0,8 0,-1 0,1 0,-4 0,-5 0,-5 0,-8 0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37.06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65,"3"0,3 0,22 99,-28-161,1 0,0 0,0 0,0-1,0 1,0 0,1-1,-1 1,1-1,0 1,0-1,0 0,0 1,0-1,0 0,0 0,1-1,-1 1,1 0,-1-1,1 0,0 0,0 1,3 0,5-1,-1 1,1-1,0-1,0 0,15-2,1 0,26-1,-14 1,-1 1,39 4,-72-2,-1 0,1 0,-1 0,1 0,-1 1,0 0,1 0,-1 0,0 1,-1-1,1 1,0 0,-1 0,1 0,-1 1,0-1,0 1,-1-1,1 1,-1 0,1 0,-1 0,0 1,-1-1,1 0,1 8,2 11,-1 0,-1 0,-1 0,-1 25,0-26,0 15,2 14,-3-1,-2 1,-9 57,11-104,-1 1,0-1,0 0,-1 0,1 0,-1 0,0 0,0 0,0-1,-1 1,1 0,-1-1,-4 5,4-6,0 0,0 0,-1-1,1 1,0-1,-1 1,1-1,-1 0,1-1,-1 1,1 0,-1-1,1 0,-1 0,-7-1,-32-3,23 2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46.70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76,'21'45,"-3"1,-2 1,-2 1,-2 0,-2 1,6 69,-7 303,-11-268,0 1,4 164,0-286,2-1,0 1,2-1,2-1,17 49,-15-54,7 36,-9-29,-6-27,0 0,0-1,1 1,-1 0,1-1,0 0,0 1,1-1,-1-1,1 1,0 0,0-1,0 0,0 0,1 0,-1 0,1-1,0 0,0 1,0-2,0 1,0-1,8 2,13 1,0-1,0-1,39-1,-45-2,597-7,86-20,-660 25,819-91,-761 84,172 5,-165 6,27 0,1169-18,-1234 13,1-3,-2-4,80-21,-47 8,1 4,1 6,0 3,1 5,105 9,541 58,162 4,-729-64,324 11,2 44,-197-18,-197-31,124-7,-114-3,1082 1,-1199 2,0 0,-1-1,1 0,0 0,-1-1,0 0,1-1,-1 0,0 0,0-1,0 0,-1 0,0-1,1 0,-1 0,-1 0,1-1,-1 0,0-1,-1 1,1-1,-1 0,-1 0,1-1,-1 0,-1 1,1-1,-1-1,0 1,1-11,-1-18,-2 0,-1 0,-2 0,-9-43,3 6,-9-334,14 228,-4 91,-19-97,-3-22,22-23,-13 68,15 104,0 35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48.23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1'13,"0"1,1 0,7 25,0 4,11 72,-6 1,-1 166,-11-231,2 1,13 58,5 63,-16-106,24 104,-30-170,7 50,-2 0,-3 0,-5 68,1-17,2-40,0-38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49.35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28'22,"-25"-20,1 1,-1-1,1 1,-1 0,0 0,0 0,0 1,0-1,0 1,-1-1,0 1,4 7,0 6,-1 0,-1 1,0 0,-1 0,1 26,-4 95,-2-77,-15 261,8-7,-4 31,10-305,2 1,2-1,2 1,13 65,-11-77,2 16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6:09.62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385 1,'-1'0,"1"0,-1 0,0 0,1 0,-1 0,0 0,1 1,-1-1,0 0,1 0,-1 1,1-1,-1 0,0 1,1-1,-1 1,1-1,-1 0,1 1,-1-1,1 1,0 0,-1-1,1 1,-1 0,-14 22,2 0,0 0,2 1,-9 26,-4 6,-12 24,4 1,3 2,4 1,4 1,-14 113,17 46,11-116,-24 133,16-175,3 0,0 140,15-137,5-1,19 92,53 171,-66-294,23 158,-27-140,20 75,2-54,3-2,53 100,-66-147,-9-14,-1 1,14 66,-21-73,1-1,2 0,0 0,2-1,0 0,16 25,-19-41,0 0,0 0,10 8,-3-3,-1 0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50.32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2'0,"-1"0,0 0,1 1,-1-1,1 0,-1 1,0-1,0 1,1 0,-1-1,0 1,0 0,0 0,0 0,0 0,0 0,0 0,0 0,0 0,0 0,0 0,-1 1,1-1,0 2,13 38,-11-31,35 160,16 183,-31-188,-7-58,35 320,-51-284,0-117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19.13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440 0,'-133'139,"51"-51,-115 96,194-182,0 1,0-1,0 1,1-1,-1 1,1 0,0 0,-3 5,5-7,-1 0,1 0,0 0,0 0,-1 0,1 0,0 0,0 0,0 0,0 0,0 0,0 0,1 0,-1 0,0 0,0 0,1 0,-1 0,0 0,1 0,-1 0,1-1,0 1,-1 0,1 0,-1 0,1-1,0 1,0 0,-1-1,1 1,0-1,0 1,0-1,0 1,1 0,7 3,1 0,-1-1,1 0,0 0,0-1,15 2,66 1,-69-5,372-1,-379 1,-1-1,1-1,-1 0,1-1,-1 0,0-2,-1 1,22-12,-17 4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19.49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12,"0"11,0 13,4 13,5 5,1 5,3 5,-1-6,-3-4,-2-4,-3-7,-2-6,3-6,0-4,0-4,-2-1,-1-4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21.48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4'0,"5"8,13 21,2 18,1 16,-3 13,-3 5,-3 0,-5-2,-5-6,-2-9,-3-10,-1-12,-1-8,0-7,0-3,1-6</inkml:trace>
</inkml:ink>
</file>

<file path=ppt/ink/ink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2.70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35'118,"-6"3,22 178,-7 250,-32-350,-2 244,-8-167,13-112,-13-152,1 12</inkml:trace>
</inkml:ink>
</file>

<file path=ppt/ink/ink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23.50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27'697,"32"-304,13 168,-71-525,1-1,2 0,1 0,17 53,-16-68,-2-5</inkml:trace>
</inkml:ink>
</file>

<file path=ppt/ink/ink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51.20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22'153,"2"176,-22 157,-4-331,1-81,-1-19,2 0,3 0,15 85,-15-131,0 0,0 0,1-1,0 0,1 0,6 9,-5-8,-1-1,1 1,-2 1,7 16,-6-3,-1-3</inkml:trace>
</inkml:ink>
</file>

<file path=ppt/ink/ink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49:52.21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1'1,"0"0,0-1,0 1,0 0,0 0,0 0,0 0,0 0,0 0,-1 0,1 0,0 0,-1 0,1 0,-1 0,1 1,-1-1,1 2,2 4,14 31,-3 1,-1 0,-1 1,-3 0,7 64,2 213,-33 429,4-463,11-195,-1 25,1-108,-1-1,0 0,0 1,0-1,0 0,-1 0,-3 8,-5 4</inkml:trace>
</inkml:ink>
</file>

<file path=ppt/ink/ink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46.65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1'1,"0"-1,1 1,-1-1,0 1,0-1,0 1,0 0,0-1,0 1,0 0,-1 0,1 0,0 0,0 0,0 0,-1 0,2 1,3 5,8 11,0 0,-1 1,-1 1,-1 0,0 0,-2 1,0 1,-1-1,-2 1,0 0,2 24,0 34,-6 142,-37 236,4-118,26-274,-2-1,-22 83,6-36,21-85</inkml:trace>
</inkml:ink>
</file>

<file path=ppt/ink/ink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47.62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2'1,"0"-1,0 1,0 0,0-1,0 1,0 0,0 0,0 1,0-1,0 0,-1 1,1-1,0 1,-1-1,1 1,-1 0,3 3,19 35,-16-24,-2-1,0 1,0 0,4 31,1 72,-7-80,8 500,-9-234,5-194,31 157,-27-201,19 112,-26-120,-4-4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26.95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4377,'1'-47,"3"0,2 1,1-1,3 1,2 1,1 0,26-56,86-228,-74 217,-34 78,-1-1,20-66,-18 45,3 0,2 2,53-91,-64 123,16-27,-10 17,0 0,19-52,-29 64,2-1,0 2,18-26,-6 9,56-109,9-13,55-73,-88 152,-38 59,-2-1,-1 0,19-39,-26 45,0 1,1 0,1 0,0 1,12-14,-19 26,-1 1,1-1,0 0,0 1,0-1,0 0,0 1,0-1,-1 1,1 0,1-1,-1 1,0 0,0-1,0 1,0 0,0 0,0 0,0 0,0 0,0 0,0 0,0 1,0-1,0 0,0 0,0 1,0-1,0 1,0-1,0 1,0-1,0 1,0 0,0-1,0 1,-1 0,1 0,0 0,0 1,6 5,-1 1,-1 0,9 14,-7-10,26 42,-16-24,2-1,1-1,26 29,54 44,95 109,-140-133,71 134,22 78,-94-159,-51-119,5 10,-8-20,1-1,-1 0,0 1,1-1,-1 0,1 1,-1-1,0 0,1 1,-1-1,1 0,-1 0,1 0,-1 0,1 1,-1-1,1 0,-1 0,1 0,-1 0,1 0,-1 0,1 0,-1 0,1 0,-1 0,1-1,-1 1,1 0,-1 0,0 0,1-1,-1 1,1 0,-1 0,1-1,-1 1,0 0,1-1,-1 1,1-1,17-16,-1-1,-1-1,0 0,-2-1,14-24,-1 4,170-220,-110 150,93-150,-1-37,181-323,-263 406,-33 66,-37 89,33-65,-29 54,-26 54,2 0,0 1,0 0,19-26,220-269,-206 266,-29 34,-1-2,0 1,11-18,63-96,-63 92,-1-1,18-43,-34 70,-4 6,0 0,0 1,1-1,-1 0,0 0,1 1,-1-1,0 0,1 1,-1-1,1 1,-1-1,1 1,0-1,-1 1,1-1,-1 1,1-1,0 1,-1 0,1-1,0 1,0 0,-1 0,1-1,0 1,0 0,-1 0,1 0,0 0,0 0,-1 0,1 0,0 0,0 0,-1 1,1-1,0 0,0 0,-1 1,1-1,0 0,-1 1,1-1,0 1,0 0,5 4,-1 0,0 0,0 0,5 9,-4-6,38 53,64 118,-89-144,89 187,-27-50,385 756,-429-854,-3 1,-3 2,-3 1,-4 1,14 86,-4 33,79 255,3-93,-100-316,-3 1,-2 0,-1 1,-3 0,3 68,-10-82,2 1,1 0,2-1,1 1,1-2,2 1,15 38,-11-44</inkml:trace>
</inkml:ink>
</file>

<file path=ppt/ink/ink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48.56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5'6,"-1"0,1 0,-1 1,-1 0,1-1,-1 1,0 1,2 7,3 8,16 44,-3 1,-3 1,12 93,8 218,-9 816,-53-715,24-450</inkml:trace>
</inkml:ink>
</file>

<file path=ppt/ink/ink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49.23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19'56,"-3"1,-1 1,7 76,-7-46,58 342,114 597,-174-970,-4-22,-1 1,3 58,-11-76</inkml:trace>
</inkml:ink>
</file>

<file path=ppt/ink/ink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7:49.80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2'1,"0"-1,0 1,0-1,0 1,0 0,0 0,0 0,-1 0,1 0,0 0,-1 0,1 1,-1-1,1 1,1 1,22 29,-21-26,14 21,-2 2,0 0,-2 1,-2 0,0 1,-2 0,-2 1,9 55,-4 27,-1 127,-12-224,2 303,10 216,-9-502</inkml:trace>
</inkml:ink>
</file>

<file path=ppt/ink/ink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8:02.01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8,"0"21,0 14,0 4,4 1,1 0,0 0,-2-5,0-1,3-5,0-4,-1-1,-1-1,-1-2,-2-3,0-5</inkml:trace>
</inkml:ink>
</file>

<file path=ppt/ink/ink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8:03.13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2'46,"1"0,3 0,19 73,-19-80,-1-1,-2 1,-2 0,-4 49,0 1,3-68</inkml:trace>
</inkml:ink>
</file>

<file path=ppt/ink/ink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08:04.63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4'0,"5"12,1 11,-2 14,-1 4,-2-2,-3 2,-1-4,0 1,-1-3,-1-4,1 2,-1-6</inkml:trace>
</inkml:ink>
</file>

<file path=ppt/ink/ink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12:14.21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817,'7'4,"0"1,-1 0,1 0,-1 0,0 1,-1 0,9 12,-1-1,83 105,132 223,-220-332,-3-4,1 0,0 0,0-1,1 0,0 0,0-1,0 1,1-2,1 1,8 5,-16-12,-1 0,0 0,1 0,-1 1,1-1,-1 0,0 0,1 0,-1 0,1 0,-1 0,1 0,-1 0,1 0,-1 0,0 0,1-1,-1 1,1 0,-1 0,0 0,1 0,-1-1,1 1,-1 0,0 0,1-1,-1 1,0 0,0-1,1 1,-1 0,0-1,0 1,1 0,-1-2,5-8,0-1,-1 0,-1 0,1 0,-2-1,3-18,2-10,187-817,-88 466,-87 322</inkml:trace>
</inkml:ink>
</file>

<file path=ppt/ink/ink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12:31.30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436,'67'-11,"448"-60,113 39,4 25,-93 2,-314-1,198-1,3 33,369 129,-510-91,456 78,14-59,1663-28,-1634-69,-528-3,265-54,-255 19,529-83,97 78,8 59,-855 0,34-1,-54-9,-1-2,82-13,0 4,2 5,0 4,132 6,227 27,63 2,965-37,-1427 10,1537-37,-1584 39,-1-2,1 0,0-2,-1 0,32-11,89-44,-85 33,294-123,-239 108,142-32,-193 61</inkml:trace>
</inkml:ink>
</file>

<file path=ppt/ink/ink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12:33.02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06,'2111'53,"-1350"-24,2438 66,-2619-80,-127 1,-121-1,38 5,-353-18,120 2,-115-5,1 0,-1-2,42-11,100-33,498-125,-459 138,314-12,211 40,-532 8,1050 0,294 1,-905 21,144-1,-576-25,184-4,-2-26,-147 6,391 8,220 65,-296-3,1141 65,-1577-106,-48-3</inkml:trace>
</inkml:ink>
</file>

<file path=ppt/ink/ink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39.88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12'35,"9"40,6 18,0 6,-6-3,-6-6,-5-13,-5-8,-3-9,-2-5,-1-5,0-11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29.09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09 0,'-4'1,"0"0,1 0,-1 0,0 0,1 1,-1-1,1 1,0 0,-1 0,1 0,0 1,0-1,0 1,1-1,-1 1,0 0,1 0,0 0,0 1,-2 3,-4 6,1 0,0 1,-8 25,14-35,-1 1,1 0,1 0,-1 0,1 0,0-1,0 1,0 0,0 0,1 0,0 0,0 0,0-1,1 1,0 0,0-1,0 1,0-1,1 0,-1 0,1 0,0 0,1 0,-1-1,0 1,1-1,0 0,0 0,0 0,0 0,0-1,1 0,-1 0,1 0,0 0,-1-1,1 0,0 0,0 0,6 0,15 3,-20-3,1 0,-1 0,1 0,0-1,10-1,-15 1,0-1,0 1,-1-1,1 1,0-1,-1 0,1 0,0 1,-1-1,1 0,-1-1,0 1,1 0,-1 0,0-1,0 1,1-1,-1 1,0-1,0 1,-1-1,1 1,0-1,-1 0,2-2,1-18,0 0,-1 0,-1-1,-1 1,-1 0,-5-27,6 46,0-1,-1 1,0 0,0 0,0 0,0 0,0 0,0 1,-1-1,0 0,1 1,-1-1,0 1,0-1,0 1,-1 0,1 0,-1 0,1 0,-1 0,1 0,-7-2,-8-2</inkml:trace>
</inkml:ink>
</file>

<file path=ppt/ink/ink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0.40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67,'7'-6,"0"0,0 1,0 0,1 1,0-1,0 1,0 1,10-4,0 1,1 1,32-4,-48 9,1-1,-1 1,0 0,1 0,-1 0,0 0,0 0,1 1,-1-1,0 1,0 0,1 0,-1 0,0 1,0-1,0 1,-1 0,1-1,0 1,3 4,-2-1,-1 0,0 0,1 0,-2 0,1 1,-1-1,0 1,0 0,0 0,1 11,2 15,-2 0,-1 0,-1-1,-2 1,-1 0,-1 0,-2-1,-1 1,-2-1,-1-1,-20 46,25-67,0 1,-1-1,-1-1,1 1,-1-1,-14 15,-4-3</inkml:trace>
</inkml:ink>
</file>

<file path=ppt/ink/ink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0.73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3,'6'0,"7"0,7 0,7 0,3 0,4-5,-5-3</inkml:trace>
</inkml:ink>
</file>

<file path=ppt/ink/ink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1.10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5'0,"3"29,5 38,1 31,-2 10,-4 10,-2 2,-3-8,-1-5,-2-10,0-10,-1-19</inkml:trace>
</inkml:ink>
</file>

<file path=ppt/ink/ink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1.43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28,'5'-6,"9"-2,6 0,1 2</inkml:trace>
</inkml:ink>
</file>

<file path=ppt/ink/ink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2.10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5'0,"9"0,6 0,7 0,4 0,3 6,0 1,-4 6,-8 18,-8 27,-18 14,-13 8,-10 1,0-8,-2-16,4-11,7-9,6-10</inkml:trace>
</inkml:ink>
</file>

<file path=ppt/ink/ink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2.49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6,"0"42,0 41,0 35,0 20,0-4,0-9,0-14,0-22,0-26</inkml:trace>
</inkml:ink>
</file>

<file path=ppt/ink/ink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2.83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21,'6'0,"7"-5,8-3,0 1</inkml:trace>
</inkml:ink>
</file>

<file path=ppt/ink/ink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3.38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12'0,"3"6,-1 13,4 9,-2 6,-4 3,-3-11,-4-21,-3-29,-1-10</inkml:trace>
</inkml:ink>
</file>

<file path=ppt/ink/ink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3.99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63 1,'5'4,"0"0,0 0,0-1,1 1,8 3,20 14,-25-14,1 2,-1-1,0 1,-1 1,14 19,-20-25,0-1,0 1,-1-1,1 1,-1 0,0 0,0 0,0-1,-1 1,1 0,-1 0,0 0,0 0,-1 0,1 0,-1 0,1 0,-1 0,-1 0,1-1,0 1,-3 4,-25 35,23-35,0 1,0-1,1 1,-8 17,-6 34,10-28,-18 39,23-63,0 0,0 0,-1 0,0 0,0-1,-1 0,0 0,0-1,-11 9,-7 1</inkml:trace>
</inkml:ink>
</file>

<file path=ppt/ink/ink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6.18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33 0,'-6'17,"-1"24,-6 21,-7 24,-4 14,-5 1,3-4,-1-8,0-18,3-16,6-12,7-12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6:18:31.21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32 53,'0'-1,"-1"0,1-1,-1 1,1 0,-1-1,0 1,0 0,0 0,0 0,0 0,0 0,0 0,0 0,0 0,0 0,-2 0,-25-16,21 13,4 2,1 1,-1-1,1 1,-1 0,1 0,-1 0,0 0,0 0,0 1,1-1,-1 1,0 0,0 0,0 0,0 0,1 0,-1 1,0-1,0 1,0 0,1 0,-1 0,0 0,1 0,-1 1,1-1,-1 1,1 0,0-1,-3 4,-5 6,1 0,0 0,1 1,0 0,-6 14,1-3,9-17,0 1,1-1,0 1,0 0,-3 13,5-18,1 0,0 0,0-1,0 1,-1 0,2 0,-1-1,0 1,0 0,0-1,1 1,-1 0,1 0,0-1,-1 1,1-1,0 1,0-1,0 1,0-1,0 1,0-1,0 0,1 0,-1 1,0-1,1 0,-1 0,1 0,2 1,123 50,-115-48,0 1,-1-2,1 0,0 0,0-1,19 1,-26-3,0 0,-1 0,1-1,0 0,-1 1,1-2,0 1,-1-1,1 1,-1-1,0 0,0-1,0 1,0-1,0 0,0 0,-1 0,1 0,3-6,0 1,-2 0,1 0,-1-1,0 0,-1 0,0 0,0-1,-1 1,-1-1,1 0,-2 0,1 0,-1 0,-1 0,0 0,0 0,-3-17,3 25,-1-1,0 0,0 0,1 1,-2-1,1 1,0-1,0 1,-1-1,1 1,-1 0,0 0,0 0,0 0,0 0,0 0,0 0,0 1,-1-1,1 1,0 0,-1-1,1 1,-4-1,-11-5</inkml:trace>
</inkml:ink>
</file>

<file path=ppt/ink/ink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6.52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5'0,"14"17,16 18,6 8,3 2,-6 0,-10-8</inkml:trace>
</inkml:ink>
</file>

<file path=ppt/ink/ink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6.85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6'17,"2"29,5 24,0 35,-1 10,-4 10,-3 0,4-16,0-14,-1-17,-3-17,-1-13,-2-15</inkml:trace>
</inkml:ink>
</file>

<file path=ppt/ink/ink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7.369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6'0,"7"0,8 0,6 17,-2 41,-5 27,-6 16,-5 9,-5-8,-2-17,-2-16,-1-15,0-16</inkml:trace>
</inkml:ink>
</file>

<file path=ppt/ink/ink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7.80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6'41,"2"47,-1 32,-1 24,-2 6,-2-18,0-25,-2-37,0-30</inkml:trace>
</inkml:ink>
</file>

<file path=ppt/ink/ink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8.13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6'0,"7"0,2 0</inkml:trace>
</inkml:ink>
</file>

<file path=ppt/ink/ink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48.91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16,"2"0,7 32,0 5,-3 52,-5-65,13 79,-13-114,0-1,0 1,1-1,-1 0,1 0,0 0,0 0,1 0,-1 0,1 0,0-1,0 0,0 1,0-1,6 3,-4-2,1-1,0 1,0-2,0 1,0-1,1 0,-1 0,1 0,9 0,3-1,1 0,-1-2,0 0,1-1,-1-1,23-7,26-8,-40 10</inkml:trace>
</inkml:ink>
</file>

<file path=ppt/ink/ink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1.37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04 21,'-1'-2,"0"1,-1-1,0 0,1 1,-1-1,0 1,0 0,0 0,0 0,0 0,0 0,0 0,0 0,0 1,0-1,0 1,-1-1,1 1,0 0,0 0,0 0,-1 0,1 0,0 0,0 1,-1-1,1 1,0 0,0 0,0-1,0 1,0 1,0-1,0 0,0 0,1 1,-1-1,0 1,1-1,-1 1,1 0,0-1,-1 1,1 0,0 0,0 0,-1 3,-2 7,1 0,0 0,1 1,1-1,0 0,0 1,1-1,1 1,0-1,0 1,2-1,-1 0,2 0,-1 0,2 0,0 0,0-1,1 0,0 0,1-1,0 1,0-1,16 15,-19-22,-1 0,1-1,0 1,0-1,0 1,0-1,0 0,1-1,-1 1,0-1,1 0,-1 0,1 0,0-1,-1 1,1-1,-1 0,1-1,0 1,-1-1,1 0,-1 0,1 0,-1-1,0 1,0-1,1 0,-1 0,0-1,-1 1,1-1,0 0,-1 0,1 0,-1-1,0 1,0-1,0 1,-1-1,0 0,1 0,-1 0,0 0,1-7,1 1,0 0,-2 0,1 0,-1 0,-1-1,1 1,-2-1,0 1,0 0,0-1,-2 1,1-1,-1 1,-1 0,-4-13,-9-7</inkml:trace>
</inkml:ink>
</file>

<file path=ppt/ink/ink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1.87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12'0,"21"6,16 7,17 2,-2 3,-1 0,-5-4,-7-4,-6-4,-6-3,-2-2,-3-1,-1 0,-6-1</inkml:trace>
</inkml:ink>
</file>

<file path=ppt/ink/ink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2.40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6,"0"13,0 9,0 6,0 2,0 2,0-1,0 0,0-1,6-7,1-2,6-6,7-7,-1 1,9-3,4-2,-2-4</inkml:trace>
</inkml:ink>
</file>

<file path=ppt/ink/ink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11-21T07:30:53.35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6'0,"13"0,21 0,21 0,17 0,2 0,-8 0,-22 12,-36 26,-32 19,-25 16,-5 8,0-10,3-11,2-11,10-13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66D44A-A563-4B45-9109-9275DAC84C53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D22F78-1A3E-426E-9562-4B6C8D59ED5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93186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721838-05EF-A9E7-A059-7C1DC21104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9A3B746-1EE2-1DA3-A370-208405008A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CA4F58C-14B0-CB7C-CBFF-CF7A315C04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A4BD9C9-917D-9B32-9BD7-B3ACA32452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91536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EE2D54-3B3D-7294-918F-02CDDF2A82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E73259E-040A-700A-E698-2FD6EBC6DE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95D4A16-A55E-3D77-B6D8-98A43F6153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BBE4D19-4A3F-B9B4-61D0-59524D6A46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035274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A4393F-6776-7DF6-EA94-6D6E35496A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674DB7E-0F02-D85C-4D79-C4022524F5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90606B7-03AA-B032-7E0B-D377608F38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71FA2CC-20DB-C75D-329E-8123D88DCE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080755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D7023-94E7-C58B-ADD9-C7AD2AEDE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E1C2660-F584-08F2-36D3-CE1EC04DBC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F03FAB4-107D-BCE4-B243-6586E80140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964B33B-2454-C324-FBDA-B33F57FC14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129468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3C99FD-7ACD-7FE8-C80B-4691B7B4FB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D3B7C7E-6382-69D8-7DAE-06BB6DB74B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4C1B091-9698-4F39-0A8B-A4D197D59C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9C8D1E1-AEE4-5D26-6D8C-A4CC44F3A8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39600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34C61D-DF0B-D4A6-6AB7-161F977A6D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9FE8975-E588-62E9-97F7-AE987A09F0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11E9058-34F6-0F57-AC93-051632A46A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8C9A175-6AF6-ACAC-D1DA-B8A37FC93E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266626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A9ADBA-636F-E4BD-5F0F-2B79ABA16B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BD9AB7D-E1E7-8189-965C-F44D6A0AD7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8EE66B2-6F5B-F2D5-71BC-0BBEDEDADE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C75BB13-DBC0-8275-33AD-F6B6DC34F9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944918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77BA98-BC18-3AA0-8D0C-9BC2038104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3CF7600-EA72-E7E9-F1BF-3D9D4E6BCA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E74A8A4-CA64-623A-435E-D33FD7944B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608607D-4BD9-0CEF-6900-47FCB227FA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74650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2372C3-869F-6550-42F3-D338B1615A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6A5E75D-BFE3-FD59-2D5F-B8C870A343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DE6561C-4C24-70EC-2433-CE9CDB0E6C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C7164D3-3B9B-6FD8-AD31-2401BE143C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589402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248D00-D681-DDD7-41D2-7A6C51C0C9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6590F1D-0553-39FE-6819-8244DBBDFA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4ACC5E04-9EEC-E22F-FB80-33D88CD20F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7784740-52FF-6E94-0F9C-C5A429F44D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4970878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C07970-B03C-896D-538D-7A60BFA3A9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EFAC1E3-112C-54E7-03D5-EF9DDB617A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FE8DD11-017A-65D6-52AB-7F9EA2A92C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28891EF-F974-C9F6-7539-2C682A0B10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481870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1B9E64-5BC7-E29B-A798-C0B932D372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9DF56B6-530D-3D43-7B3A-B234836FF3B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FBD2052-A9F5-5480-0745-26C923AF85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4688AA0-29A7-A4CC-B8B8-BD6C993FCB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6029910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4EBD3E-F9EE-E111-2C3D-C11FE3BFE6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727DE7C-75BA-EB4B-AE56-7A2FFBDA0A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BEDEFB3-0CEA-BBDA-2FB5-25EEAA6A57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3557346-462D-E3AD-D75B-17B91CDF95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2799040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1D3622-05B3-D171-721D-9231F558B5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FE52D7B-5EFC-7301-B84C-771B7280A7D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46C5A769-7CC4-5B22-E387-BA35930B08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7548A1C-B23D-2A42-E963-C796421823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2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863757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A15063-DFAA-4656-E14F-07097CDAF2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3AA54EA-EA81-BA6C-9D0E-28B31715F7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5E4C722-58BA-4BF2-9F9C-06A4BA4C3D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B5E35A5-06F5-1061-25B7-05BF575E9A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5409893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624592-3E3C-C2AC-E3DC-A4507CB2DB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71D2798-7C31-76E2-6DD4-B177A6D08D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CC27E01-3B95-D3C6-3EC6-10482E7A90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3B38E70-D833-5E44-4F4D-20BC3AF311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447188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591BEB-9D9B-C120-D2A2-2A520C04AB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3D4A6B2-41A4-DBC0-D842-B6774C3683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8856F2A8-201F-78C0-6FA5-CCFDE023E7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831085B-B5A0-1F9B-2385-DD900AC3D1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6024510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3CBFA7-0071-C4A8-1E14-9F650921FB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E28DFB2-BF6F-EFEB-E565-435DEC28A7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6D549E3-DAF7-ED7B-C562-0774732533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D3B4BF4-CF18-AB9E-C7D9-E32A79791E7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4721236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A6C6C5-8A16-B9D1-88F8-AC5B3E5C61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5B20B0E-2C27-4E2C-EC5A-89A549822E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4D23CFBC-E4FE-DA39-9544-AFDE73248D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0723B33-7663-509A-A35B-48A141682D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9005201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E63726-BC70-281E-D450-3C5170DFB3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5FE4879-ECA6-F292-BBE8-CC5B736EC9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9A2DD63-A436-ABB4-7447-9C0F187823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1676DE3-3F58-3CCF-408C-6B9D34D577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2590948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97B5C8-4753-8929-2B85-1CB3EA7AEA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C1357B5-75E2-D084-314B-96C51EF61D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2278D0A-BA7B-CC8E-7D8C-50A3661F3F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04A243A-F41C-C501-19E8-626925A4B2F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4285718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FA3E25-FDC4-636D-2174-0D614DA95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717688A-2E0D-38FE-59B0-F1714056A5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68A58135-FCA6-C37B-6A50-F4AAA871F2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FA5191F-2C5E-90C5-6728-A16100B806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490693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49FF01-0AF5-5D39-FBA5-5ADFFD561D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4E228B5-82AE-43A7-63B5-C415F39F9C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39C1120-D384-CAA5-E980-83154F9165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4BD07ED-9EFF-A002-D27C-900CAB2ACD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109110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C9A566-1AD5-391E-5289-2635CE47BC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A223EE1-F190-01CA-71FA-5990A9BA74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C92C663-7A2B-BF17-1CFE-5EC9B02FEF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50EBE94-CCFD-6A8D-3AF7-B3C042CF65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5314966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9510BE-36F7-2E23-6368-C7F5E70DCE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1472733-8178-F2BF-BBD3-63185FD208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E107980-60AC-EDA0-A843-6B1D0708F8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59EC4E5-0030-9FFD-DA16-1824C5EE83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3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544110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82F1D3-439F-661C-D6FB-48AC246290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1A3BC19-AEBD-ACD8-B974-AA50E92F7A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445AA45-2ED4-E1B5-4B40-8825CBDC25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AC77714-DB38-DB02-7524-2B2DC128F8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3573260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596A26-8DAE-EC5F-0EFF-3A1DC7504D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EF6CBFB-E308-FC68-5F75-3542F74BEE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3A62FAE-3720-BFD9-5459-EEE00ACD2B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8C6372D-4896-864F-4DC2-0565908D9B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571013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8D65AA-307D-9A8C-97C6-33642DE793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067AC6A-2CF8-2A76-136B-ABC97F166B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9F08BDA-BE27-CEF5-8A7C-C44B898328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496DF5F-61B9-2651-BB1C-ABCFB7D995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5931776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F37F8C-B6DC-DE6A-4393-F42D94A8C7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40AE6F5-BA45-2319-9A6D-026FAC4948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CA29A7D-0089-FF35-15C6-12247ADEEE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549BACF-75B8-9DFF-BFA2-756CC698C4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4615587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9D5365-3413-33F8-2456-2DD09B700D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2B7EF4E-1442-F5D9-3E77-DB8601D0FE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7FB2654-F78C-9320-F9A7-4CCC848C23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8FFEF00-D055-44D3-2312-1A5D3926BF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903210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85138-55E1-3072-4CAD-7141A76A0C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6FEA0F5-5C5A-7C67-BCDD-594241E8AC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84DD86EE-27D6-4589-DB73-9739FA4402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477AE1B-06AE-F3D6-3EFB-07D00CEC4A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8276809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1DBD4F-91AA-6B14-63C5-D01EE9801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47337B2-8238-A39D-4F7A-E6B01A98BF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C1A47E9-8963-80C2-289C-572A023BFF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F64DEF9-A1A8-D7B5-FE72-707411CCA7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631125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D01CC8-6C82-8A40-8655-E064F87AA0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D1CE3AE-1663-1FA8-441C-B37214577A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B103EF2-24D3-CE35-7D84-5FD4FCCB3E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31F5E3F-77F0-9A47-C5BE-61029BDC6D2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061693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0689D7-48AC-B8DC-C72F-7C7C3CC634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6DE482F-53DD-A049-6AB4-9B5EA5CD7E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0C49E41-AEDE-09B9-2676-1CE69E1402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F3F29FA-624D-1384-9839-E851FBBF1C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0352278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89950B-FAE9-D484-81D9-4739133A46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21A839C-A0CC-CC52-E942-C158D400DD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0F72980-A80C-D31E-B6A1-8B4B6DF10F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5782776-EE3D-64A4-9B2B-009F44756C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962038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D67AAD-BCDC-114D-FC50-7B3A0CEF3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0812B34-592C-87CE-2B0C-68DC55A402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8E165477-4851-CBBE-777E-6432C3550F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8438B4-E64B-71A6-FA09-2078812C13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4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141704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F0F3AC-8065-839F-A674-B62FFF3E60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730714D-4F5C-B5E0-92DE-103EBB61A7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8EA98F4-4269-558A-0476-8E56A2F2A3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ED291C6-D7D6-3FC7-573E-159B90732B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5978675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F1EAA3-5F9F-945B-2D22-9F2EC38788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53A43A2-A1CD-FF5B-D720-AFB80962E9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64B9D12-C35C-5892-A4EB-81D9FF6BBA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F54FC5A-8E94-BA61-EE6D-122B50ED29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5654473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BEB03E-F7B4-A417-7808-EDD24BCDEA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336784B-D873-966A-6515-FF46C2542A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63EEF7F-A99D-3EB2-CD40-B79C3A6425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B410F6E-E835-6E4E-0940-D9240E6AED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2378742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77C466-C809-D0AB-0C75-2294812063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3AE4B27-39D6-9F3D-BF05-BA3C770C87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1229AAC-84F8-D75D-492D-78189F9AE4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EBB6F78-6606-68C3-B6B3-DCACDE0F24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2869615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5B06E3-2EC4-FA3B-9DD2-2F7E289AC5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4D7B2F2-6DBF-0E02-0773-692291BF9E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07BC482-4BBC-AABD-7371-459697AF5A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2343FA9-0126-44AD-4FEC-76CF249D01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586104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437875-2D12-23DD-7271-5EF2FD3FED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F4B80B8-0F27-B8F8-50C1-93D57253E0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D167884-E4B6-908B-E6EB-14DCEDF757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89613DE-20AF-8E41-A71E-1554EE31DD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358174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E05025-BA4E-60C2-FECE-47B27B909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593565A-7CE2-7F5E-B3F6-9DB8F28A9D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F6C2847-781E-CAE7-2748-270BEFBC56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C985BA5-8061-5800-04FC-67099363A3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8025037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271A46-49B0-68E3-9780-3E74A4DAB3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193C8BC-D834-8724-707A-4D32D76A30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D748C6C-A22C-9451-0A64-012ABA031A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8405BE6-67A6-D4F3-C46C-F70F090198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64419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7D07A9-0D4D-690E-1B21-4B854353E1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039A42F-0705-AB0D-3DB5-66823348D2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F856757-82A5-76B1-417D-5AFC768C0E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9EB65BC-9331-14E8-4D2E-667D2936BF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5133161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CC779F-1257-AB25-B123-0A945318CE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EBD4358-F2C9-3830-89FB-45BA5800A3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9A823BE-AF8D-B823-76AE-2A960AA410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4F637C3-2399-C118-F7E4-55AF0EFAB7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15612878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7C7FDA-4C1A-1EFA-D257-5107927A58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A7BE88C-500F-75B1-AD91-FC4F1CAE2B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2C43EF4-3975-C384-0324-3C192DF572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324B58C-2E38-2C55-AAA0-A1D1FCD993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5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446297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A8E166-7B3A-64B5-B29C-5A90A9ECD2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C733D4D-E175-3C2E-3BDA-A567D9CDE0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34FD6BD-6AF6-FA35-CE3D-D4F5CD15CB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9F4B01D-DF01-1FFF-73B9-7968434B10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434659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F12F9E-8B5B-ED34-58EB-C92101DF4C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55A0BAD-7769-A700-DAF7-45E236764C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F0DA738-2AE4-F2A4-6D2B-7B0A330274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5787365-9B58-ED17-6BCA-5CE81DDA47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0619977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4D6195-A1AF-E582-3436-6607BC8C3B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23059F1-FD8A-98DE-47FF-B5035E4895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C600D77-40A9-73C6-077C-CFC038F3B6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6A676E2-E637-96DB-471B-28FA40E1379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77285039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F770C0-998C-4F3B-6A0D-C50AE38388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0909398B-69C0-68F6-E779-2602AB4B66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194083B-C564-2BCA-480A-2B8A2CC0C9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E08D823-3A5F-1134-2EB8-D6ABDA1FE1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51033998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00BBB1-24FB-0ADB-6667-786EE12B3D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E78B97E-5358-74DA-AA0F-0FE5E59679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6DCCD48-7496-2A76-E8B3-C41AAFD07E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AFA6D9D-9224-A743-031A-40EC4D589B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59037673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AB783F-0AE0-71A7-C06C-FD9D39A42D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C64D3CE-8B25-F7A4-DF74-456E737E97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7AC0E75-A651-90F1-0A90-48EF830BFB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C0EA579-F011-D12C-4FD6-5875CA243C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14098584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03986D-6C7F-9D91-225D-D41376A7F7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53624CE-427D-BB43-94F0-40224E56CB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07E84E4-6FBD-7B3F-073B-FDD99E183B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B289C70-6829-9411-9421-52F14E7522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00140575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44F40A-2C92-0A62-D250-E4661D8301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253516D-8290-AF65-4BD4-31BDC388C4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CA32F7F-2519-BB29-B5DF-5EFC9C6C06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A332123-D57C-3937-E497-4FBF1CE424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068796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4DF854-A439-F7EE-CB6C-8D6FBDCDCB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B0B04B8-B9A5-F418-379D-EA1A958F6A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E2183D3-BA03-F637-A84A-39B05B6FBD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222395D-60EF-24D9-A0E8-ACD8E8DBF8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17578085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84B62E-AB6B-BBEC-F317-3F5D5B2401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EA8DB14-DFC3-EAE1-67FD-5B351DCA03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9AEFEA2-E99A-B97F-B2B9-3B94DAF363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2DC5BA6-A0CE-B792-DB75-B3F8489538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3364560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C598C8-D661-1897-EADE-31A24D8649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78CC991-BBA5-6173-7706-2B533DBFFA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9AB51FB-6AFF-1F13-B02D-BA98CF4A01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5A168DD-591F-4EF6-575E-CF85E94EF7F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6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44078384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508A6F-F81E-8860-D1EF-8A2E4497D8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AB1A3BFC-94CB-E609-2701-A5FD8171E3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EEF47CB-B81B-AB1F-E0D8-38F88BBA00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B005ED7-5AFE-F8FE-DCC4-5E061514AC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2794915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72D1B9-3946-337E-7994-0661304D4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29ABD47B-FAC6-D079-E021-CA2BA613EE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0E6F7F3-79DF-0599-38F9-B42E6A7987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92B5693-752A-D35F-0B12-4EBDDB8323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3467002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0E11DF-EBDF-7617-8EA3-1993352EF0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D3EBFC0-63C6-22D8-FBDA-7BE57EE376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32DD1DE-66ED-4F6D-BE0F-96E574C6C4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48524E3-ABEC-668D-2745-A18566D549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60857090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7A28A9-20A5-0CD9-E029-820E05A84D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35EE2DB-278F-6C34-CFE4-DD3AFA41B5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9CE695D-BADC-D589-FD70-C9F8304021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0105810-62BF-99CD-7286-A461C9E0D3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1096683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F633FC-D0FE-7472-7CFC-533939F8EC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5830563-69D5-084D-01E4-59960B4388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B840C18-C39B-EEA2-191C-44FDCFEE41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09A209B-5C31-CB03-AD40-55B0E25EB5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60999892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4880A4-4EF3-8C80-2EBF-9748EC52C7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9A35556-A72E-DF59-BA5D-B3706373D2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542CC34-2EA2-2766-EF52-D629B06B73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501CAF6-7BEC-D7F7-8DDB-B9E9032064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95145075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402186-F686-EF25-1501-A451E76A91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99DECEB-AF6F-E1EF-3F09-0A8820FDA7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CA9BD739-472B-80EC-817B-1CDC7998A6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A583DC9-ABBA-46B8-6962-A63F47CDF6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91228599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D6E114-2192-ADAF-27C0-898D90AB64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C2D4AF8-732D-870C-7A16-C34137A03E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88FEEC5-23E5-2179-C8FE-610D577503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DE27D42-B593-312B-F47F-9637E17D3D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08809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8A1EB7-0604-1D9F-E99B-A138D5CD0C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F78C875-8238-ECB4-22C9-5E67ABAD26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F46E992-99A0-D297-A6D2-9C934568FF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C6A778D-D7CC-4BE2-1D82-84E34755D1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3298934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AABF05-2FED-332C-497F-C5B95FEF94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0E180E6-457B-944D-6366-67530A6C71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5CE0D4D-B086-B840-7EF9-11A982540D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FFAEEEB-9732-371F-24A7-464648AE0B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38774500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C1A13A-161A-9AB7-B121-A5691177D7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66010EE-DAE3-5BD4-727B-2BFAD6B55A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4A41BF2-A25E-6C41-6DEC-0CC04B5D6F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062E375-C7B6-FB83-E7C0-C0C8CDEE3B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7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06050438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5D5D48-4EE7-49F2-063C-72BEBDEF29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DB38BAF-6C25-1418-E04E-9ECFA76A1C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1633693-110B-E414-50DE-E4C2D15EFE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1B8D0DD-2B4B-09B0-D210-8E32216CCC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70388957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845719-858E-0D59-7496-5C56DD9A97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B2F4F2F-DDD4-516B-AAB9-773238960A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87F260B-C987-D70E-403D-FE9D2452B1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2F1C9EF-7D3B-268E-C249-3CF3B50996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3050557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F32EB1-E0B0-4C14-58F4-BA80E1FDD6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03BD20B-718F-6AB5-FF75-CF6C43ECF0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23DFA80-5C0E-4630-BE8C-5C85E19CB0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3C9415C-3975-B7A0-26C0-BAC0CB803D9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7980269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35B747-05DC-9F04-EC16-803C8793A5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A0ED89F-20A7-5E14-110B-A9951917CB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6596BBE-45FF-C7CD-0AA3-63B3B60B17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9DC5420-E080-5312-9225-7B920D3628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5414466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3C2BD-C133-F5E9-9F2D-F9557426D2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8597DFE-7619-ACA5-8B85-6935AB41A4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0936C25B-C2A1-0166-CEC1-909B38A4F26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D445264-4189-DE5B-E3B1-50227B310F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80343259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675F9B-AD8E-A6AE-13FC-DC8F91415B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FE47A35-3BAB-D75E-AD23-5A4F5DC4EB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8AFC6EF-6593-FA0D-3573-26F185B7B4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6CC81CB-B6ED-624D-6353-08838953F4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18990478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4B17B9-5C4E-1624-BDDA-F83528C0E1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03EA6EB-8C9B-4FCA-E9AE-A7F7417D6D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D1CA490-CBB7-56CC-BA23-FDE6435F81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B4D5D10-4DB3-5153-D42F-E49B66B000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46848090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8D93A3-306B-1B1C-EEF6-C07272C57D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4FFD07E1-8EA0-F18B-BD3B-0E3F61B8D5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622859B-A266-40FD-6F9A-F24F8FAB87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D343AAC-ABA6-D838-3049-1F8A920217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45692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54741D-B9E0-8586-565A-99657E2988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90FAA17-E290-99A3-DD0F-0C39EFA241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E8FE701-9A5B-43C3-0F2E-35255CE432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0B43936-A837-5D4F-F6D7-7CA8E1FBC2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49140223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88924D-BEED-FA22-456F-118DD29055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CADE5E5-4203-2AED-358C-21BEEB9814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FEA6914-143E-F82B-46E4-76083FE4B7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75177EF-6AF4-AD1C-A27F-DED084F878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88160044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C92450-5288-87F7-2989-45845585CD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6943481-6DB4-12BC-438A-F29CC22708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64756069-1B11-0ED1-46CF-269D4A53A1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200FAC2-AF2F-BB5C-40DF-BA2CC02DCE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8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00323132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33441E-36D8-9B26-7570-3B269C6C48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470CF42F-DFF5-462F-0C6E-B684196C77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3CC8A35-BC60-D279-0636-636889B723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C38483F-3D00-76DF-C7F5-03A64A06D7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10119583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8BE538-A33E-83A4-B207-B18A07D87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5EBD7F7-4AEF-ED66-146F-006B9F5A4B3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5AA3BD17-546E-1017-9EA1-8771C6D68B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D074E3-EEE9-8D2B-BBBD-73A384805B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39268190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D476BA-9383-75D0-553D-22022862AC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60397E0-2D78-B008-3097-DEA9B496BD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413DF89-DD8B-9230-A627-250AD179AF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43A68D2-B376-B41F-FED8-B45D9DD044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59466573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AC6F1C-A057-2BF6-D990-A519918D88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5F1D366-037C-9F34-BC9F-278CDC24FE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5F04B19-BC88-B18C-8361-67314D8487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1DA8933-957D-8843-2A90-04D5FCCE72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98852732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2C1268-F35E-6BD7-5DA7-0C8632E945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A548CC7-7058-8520-0C13-452D1017B9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6FF80E5-8835-6B40-ED52-95B9B72920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3B247A4-C1AF-1815-B72E-8A48BF1E16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19813910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363E55-DB8F-12EF-ECD9-46784EABC2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61EC87E9-65AB-1896-5FCE-26C8C5FEEE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3FFE663-E9F6-6397-360E-4C860AD0AB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7C31954-1CD8-AE9A-DA8C-1859E187E6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33585186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B09F5B-774E-DE45-41F6-04BE118B00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D3C9C90-0527-D222-2A8F-7F1469049E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CF4057A-B12B-678D-8C69-B9C18AAE44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D6E7921-42A4-5527-DF2E-3E328221BD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7639418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BA0D78-A493-C9B8-9635-8AAEED08D8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B746DC3-BD2B-E465-BE1B-E1DE13B3A8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8AF0757-83A9-A117-FA52-5EA7981593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B6F1375-72DF-F6D0-F761-AEB4EC42DE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794379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D62DD8-B2A7-2696-1FF8-40DFD5523F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A45AF8E-494C-AE7D-EBF5-C6E785C3C9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A537B01-5212-1E10-0BA1-B28CFB7F05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2EF6C72-B0BC-0DE4-5300-68CDD72FB3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33300529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A6BA06-2A80-3CD4-C5D7-C487BF599D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B97BD95-A501-3050-A226-469B053FEE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3BBCB85-C19D-3B8F-1180-8D691DC7D3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765467A-5C5F-0910-0022-3BD035BFE7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21501715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4B4AF0-18DF-ED6F-40C6-A621CF268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CE0D7F6F-9955-AB02-2EC0-FFFCB6B65D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9BCE7FD-B7E7-086C-7E6C-EF0865EFF2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57BC79E-75FD-122F-0493-46C0325EE5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9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14613178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E13F66-0A8F-14B0-1EEC-7A4F5ECBBB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5C08C4D7-A84D-A2AC-2927-A858C00666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F1CE69D6-FC5C-8442-46BB-44217ABAB3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141B24C-95B3-BBAE-C845-15BE116179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0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5249525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250DB4-7FB6-68DF-351D-7EBA8EF3D3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509F123-9CF0-ACB0-2B29-8029B5EEA0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7D98533C-6517-F4C2-0D9E-7D8E510A59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BC17A31-E04E-552E-BD5E-D9518336069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22F78-1A3E-426E-9562-4B6C8D59ED50}" type="slidenum">
              <a:rPr lang="ko-KR" altLang="en-US" smtClean="0"/>
              <a:t>10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01533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719213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6082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691854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91583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478183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27761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17299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307797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179328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299548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36367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5A0CC7-3447-4EAE-8114-4AE158E9D7CB}" type="datetimeFigureOut">
              <a:rPr lang="ko-KR" altLang="en-US" smtClean="0"/>
              <a:t>2024-11-2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1BD731-C19C-4448-8897-C26791402E1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36210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youtu.be/Rvz4Cq55990" TargetMode="Externa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2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2.png"/><Relationship Id="rId18" Type="http://schemas.openxmlformats.org/officeDocument/2006/relationships/customXml" Target="../ink/ink14.xml"/><Relationship Id="rId26" Type="http://schemas.openxmlformats.org/officeDocument/2006/relationships/customXml" Target="../ink/ink18.xml"/><Relationship Id="rId39" Type="http://schemas.openxmlformats.org/officeDocument/2006/relationships/image" Target="../media/image35.png"/><Relationship Id="rId21" Type="http://schemas.openxmlformats.org/officeDocument/2006/relationships/image" Target="../media/image26.png"/><Relationship Id="rId34" Type="http://schemas.openxmlformats.org/officeDocument/2006/relationships/customXml" Target="../ink/ink22.xml"/><Relationship Id="rId42" Type="http://schemas.openxmlformats.org/officeDocument/2006/relationships/customXml" Target="../ink/ink26.xml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6" Type="http://schemas.openxmlformats.org/officeDocument/2006/relationships/customXml" Target="../ink/ink13.xml"/><Relationship Id="rId29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8.xml"/><Relationship Id="rId11" Type="http://schemas.openxmlformats.org/officeDocument/2006/relationships/image" Target="../media/image21.png"/><Relationship Id="rId24" Type="http://schemas.openxmlformats.org/officeDocument/2006/relationships/customXml" Target="../ink/ink17.xml"/><Relationship Id="rId32" Type="http://schemas.openxmlformats.org/officeDocument/2006/relationships/customXml" Target="../ink/ink21.xml"/><Relationship Id="rId37" Type="http://schemas.openxmlformats.org/officeDocument/2006/relationships/image" Target="../media/image34.png"/><Relationship Id="rId40" Type="http://schemas.openxmlformats.org/officeDocument/2006/relationships/customXml" Target="../ink/ink25.xml"/><Relationship Id="rId45" Type="http://schemas.openxmlformats.org/officeDocument/2006/relationships/image" Target="../media/image38.png"/><Relationship Id="rId5" Type="http://schemas.openxmlformats.org/officeDocument/2006/relationships/image" Target="../media/image18.png"/><Relationship Id="rId15" Type="http://schemas.openxmlformats.org/officeDocument/2006/relationships/image" Target="../media/image23.png"/><Relationship Id="rId23" Type="http://schemas.openxmlformats.org/officeDocument/2006/relationships/image" Target="../media/image27.png"/><Relationship Id="rId28" Type="http://schemas.openxmlformats.org/officeDocument/2006/relationships/customXml" Target="../ink/ink19.xml"/><Relationship Id="rId36" Type="http://schemas.openxmlformats.org/officeDocument/2006/relationships/customXml" Target="../ink/ink23.xml"/><Relationship Id="rId10" Type="http://schemas.openxmlformats.org/officeDocument/2006/relationships/customXml" Target="../ink/ink10.xml"/><Relationship Id="rId19" Type="http://schemas.openxmlformats.org/officeDocument/2006/relationships/image" Target="../media/image25.png"/><Relationship Id="rId31" Type="http://schemas.openxmlformats.org/officeDocument/2006/relationships/image" Target="../media/image31.png"/><Relationship Id="rId44" Type="http://schemas.openxmlformats.org/officeDocument/2006/relationships/customXml" Target="../ink/ink27.xml"/><Relationship Id="rId4" Type="http://schemas.openxmlformats.org/officeDocument/2006/relationships/customXml" Target="../ink/ink7.xml"/><Relationship Id="rId9" Type="http://schemas.openxmlformats.org/officeDocument/2006/relationships/image" Target="../media/image20.png"/><Relationship Id="rId14" Type="http://schemas.openxmlformats.org/officeDocument/2006/relationships/customXml" Target="../ink/ink12.xml"/><Relationship Id="rId22" Type="http://schemas.openxmlformats.org/officeDocument/2006/relationships/customXml" Target="../ink/ink16.xml"/><Relationship Id="rId27" Type="http://schemas.openxmlformats.org/officeDocument/2006/relationships/image" Target="../media/image29.png"/><Relationship Id="rId30" Type="http://schemas.openxmlformats.org/officeDocument/2006/relationships/customXml" Target="../ink/ink20.xml"/><Relationship Id="rId35" Type="http://schemas.openxmlformats.org/officeDocument/2006/relationships/image" Target="../media/image33.png"/><Relationship Id="rId43" Type="http://schemas.openxmlformats.org/officeDocument/2006/relationships/image" Target="../media/image37.png"/><Relationship Id="rId8" Type="http://schemas.openxmlformats.org/officeDocument/2006/relationships/customXml" Target="../ink/ink9.xml"/><Relationship Id="rId3" Type="http://schemas.openxmlformats.org/officeDocument/2006/relationships/image" Target="../media/image17.png"/><Relationship Id="rId12" Type="http://schemas.openxmlformats.org/officeDocument/2006/relationships/customXml" Target="../ink/ink11.xml"/><Relationship Id="rId17" Type="http://schemas.openxmlformats.org/officeDocument/2006/relationships/image" Target="../media/image24.png"/><Relationship Id="rId25" Type="http://schemas.openxmlformats.org/officeDocument/2006/relationships/image" Target="../media/image28.png"/><Relationship Id="rId33" Type="http://schemas.openxmlformats.org/officeDocument/2006/relationships/image" Target="../media/image32.png"/><Relationship Id="rId38" Type="http://schemas.openxmlformats.org/officeDocument/2006/relationships/customXml" Target="../ink/ink24.xml"/><Relationship Id="rId20" Type="http://schemas.openxmlformats.org/officeDocument/2006/relationships/customXml" Target="../ink/ink15.xml"/><Relationship Id="rId41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customXml" Target="../ink/ink28.xml"/><Relationship Id="rId7" Type="http://schemas.openxmlformats.org/officeDocument/2006/relationships/customXml" Target="../ink/ink30.xml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customXml" Target="../ink/ink29.xml"/><Relationship Id="rId4" Type="http://schemas.openxmlformats.org/officeDocument/2006/relationships/image" Target="../media/image4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32.xml"/><Relationship Id="rId5" Type="http://schemas.openxmlformats.org/officeDocument/2006/relationships/image" Target="../media/image50.png"/><Relationship Id="rId4" Type="http://schemas.openxmlformats.org/officeDocument/2006/relationships/customXml" Target="../ink/ink3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34.xml"/><Relationship Id="rId5" Type="http://schemas.openxmlformats.org/officeDocument/2006/relationships/image" Target="../media/image53.png"/><Relationship Id="rId4" Type="http://schemas.openxmlformats.org/officeDocument/2006/relationships/customXml" Target="../ink/ink3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6" Type="http://schemas.openxmlformats.org/officeDocument/2006/relationships/customXml" Target="../ink/ink46.xml"/><Relationship Id="rId21" Type="http://schemas.openxmlformats.org/officeDocument/2006/relationships/image" Target="../media/image70.png"/><Relationship Id="rId42" Type="http://schemas.openxmlformats.org/officeDocument/2006/relationships/customXml" Target="../ink/ink54.xml"/><Relationship Id="rId47" Type="http://schemas.openxmlformats.org/officeDocument/2006/relationships/image" Target="../media/image83.png"/><Relationship Id="rId63" Type="http://schemas.openxmlformats.org/officeDocument/2006/relationships/image" Target="../media/image91.png"/><Relationship Id="rId68" Type="http://schemas.openxmlformats.org/officeDocument/2006/relationships/customXml" Target="../ink/ink67.xml"/><Relationship Id="rId84" Type="http://schemas.openxmlformats.org/officeDocument/2006/relationships/customXml" Target="../ink/ink75.xml"/><Relationship Id="rId16" Type="http://schemas.openxmlformats.org/officeDocument/2006/relationships/customXml" Target="../ink/ink41.xml"/><Relationship Id="rId11" Type="http://schemas.openxmlformats.org/officeDocument/2006/relationships/image" Target="../media/image65.png"/><Relationship Id="rId32" Type="http://schemas.openxmlformats.org/officeDocument/2006/relationships/customXml" Target="../ink/ink49.xml"/><Relationship Id="rId37" Type="http://schemas.openxmlformats.org/officeDocument/2006/relationships/image" Target="../media/image78.png"/><Relationship Id="rId53" Type="http://schemas.openxmlformats.org/officeDocument/2006/relationships/image" Target="../media/image86.png"/><Relationship Id="rId58" Type="http://schemas.openxmlformats.org/officeDocument/2006/relationships/customXml" Target="../ink/ink62.xml"/><Relationship Id="rId74" Type="http://schemas.openxmlformats.org/officeDocument/2006/relationships/customXml" Target="../ink/ink70.xml"/><Relationship Id="rId79" Type="http://schemas.openxmlformats.org/officeDocument/2006/relationships/image" Target="../media/image99.png"/><Relationship Id="rId5" Type="http://schemas.openxmlformats.org/officeDocument/2006/relationships/image" Target="../media/image62.png"/><Relationship Id="rId19" Type="http://schemas.openxmlformats.org/officeDocument/2006/relationships/image" Target="../media/image69.png"/><Relationship Id="rId14" Type="http://schemas.openxmlformats.org/officeDocument/2006/relationships/customXml" Target="../ink/ink40.xml"/><Relationship Id="rId22" Type="http://schemas.openxmlformats.org/officeDocument/2006/relationships/customXml" Target="../ink/ink44.xml"/><Relationship Id="rId27" Type="http://schemas.openxmlformats.org/officeDocument/2006/relationships/image" Target="../media/image73.png"/><Relationship Id="rId30" Type="http://schemas.openxmlformats.org/officeDocument/2006/relationships/customXml" Target="../ink/ink48.xml"/><Relationship Id="rId35" Type="http://schemas.openxmlformats.org/officeDocument/2006/relationships/image" Target="../media/image77.png"/><Relationship Id="rId43" Type="http://schemas.openxmlformats.org/officeDocument/2006/relationships/image" Target="../media/image81.png"/><Relationship Id="rId48" Type="http://schemas.openxmlformats.org/officeDocument/2006/relationships/customXml" Target="../ink/ink57.xml"/><Relationship Id="rId56" Type="http://schemas.openxmlformats.org/officeDocument/2006/relationships/customXml" Target="../ink/ink61.xml"/><Relationship Id="rId64" Type="http://schemas.openxmlformats.org/officeDocument/2006/relationships/customXml" Target="../ink/ink65.xml"/><Relationship Id="rId69" Type="http://schemas.openxmlformats.org/officeDocument/2006/relationships/image" Target="../media/image94.png"/><Relationship Id="rId77" Type="http://schemas.openxmlformats.org/officeDocument/2006/relationships/image" Target="../media/image98.png"/><Relationship Id="rId8" Type="http://schemas.openxmlformats.org/officeDocument/2006/relationships/customXml" Target="../ink/ink37.xml"/><Relationship Id="rId51" Type="http://schemas.openxmlformats.org/officeDocument/2006/relationships/image" Target="../media/image85.png"/><Relationship Id="rId72" Type="http://schemas.openxmlformats.org/officeDocument/2006/relationships/customXml" Target="../ink/ink69.xml"/><Relationship Id="rId80" Type="http://schemas.openxmlformats.org/officeDocument/2006/relationships/customXml" Target="../ink/ink73.xml"/><Relationship Id="rId85" Type="http://schemas.openxmlformats.org/officeDocument/2006/relationships/image" Target="../media/image102.png"/><Relationship Id="rId3" Type="http://schemas.openxmlformats.org/officeDocument/2006/relationships/image" Target="../media/image61.png"/><Relationship Id="rId12" Type="http://schemas.openxmlformats.org/officeDocument/2006/relationships/customXml" Target="../ink/ink39.xml"/><Relationship Id="rId17" Type="http://schemas.openxmlformats.org/officeDocument/2006/relationships/image" Target="../media/image68.png"/><Relationship Id="rId25" Type="http://schemas.openxmlformats.org/officeDocument/2006/relationships/image" Target="../media/image72.png"/><Relationship Id="rId33" Type="http://schemas.openxmlformats.org/officeDocument/2006/relationships/image" Target="../media/image76.png"/><Relationship Id="rId38" Type="http://schemas.openxmlformats.org/officeDocument/2006/relationships/customXml" Target="../ink/ink52.xml"/><Relationship Id="rId46" Type="http://schemas.openxmlformats.org/officeDocument/2006/relationships/customXml" Target="../ink/ink56.xml"/><Relationship Id="rId59" Type="http://schemas.openxmlformats.org/officeDocument/2006/relationships/image" Target="../media/image89.png"/><Relationship Id="rId67" Type="http://schemas.openxmlformats.org/officeDocument/2006/relationships/image" Target="../media/image93.png"/><Relationship Id="rId20" Type="http://schemas.openxmlformats.org/officeDocument/2006/relationships/customXml" Target="../ink/ink43.xml"/><Relationship Id="rId41" Type="http://schemas.openxmlformats.org/officeDocument/2006/relationships/image" Target="../media/image80.png"/><Relationship Id="rId54" Type="http://schemas.openxmlformats.org/officeDocument/2006/relationships/customXml" Target="../ink/ink60.xml"/><Relationship Id="rId62" Type="http://schemas.openxmlformats.org/officeDocument/2006/relationships/customXml" Target="../ink/ink64.xml"/><Relationship Id="rId70" Type="http://schemas.openxmlformats.org/officeDocument/2006/relationships/customXml" Target="../ink/ink68.xml"/><Relationship Id="rId75" Type="http://schemas.openxmlformats.org/officeDocument/2006/relationships/image" Target="../media/image97.png"/><Relationship Id="rId83" Type="http://schemas.openxmlformats.org/officeDocument/2006/relationships/image" Target="../media/image101.png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36.xml"/><Relationship Id="rId15" Type="http://schemas.openxmlformats.org/officeDocument/2006/relationships/image" Target="../media/image67.png"/><Relationship Id="rId23" Type="http://schemas.openxmlformats.org/officeDocument/2006/relationships/image" Target="../media/image71.png"/><Relationship Id="rId28" Type="http://schemas.openxmlformats.org/officeDocument/2006/relationships/customXml" Target="../ink/ink47.xml"/><Relationship Id="rId36" Type="http://schemas.openxmlformats.org/officeDocument/2006/relationships/customXml" Target="../ink/ink51.xml"/><Relationship Id="rId49" Type="http://schemas.openxmlformats.org/officeDocument/2006/relationships/image" Target="../media/image84.png"/><Relationship Id="rId57" Type="http://schemas.openxmlformats.org/officeDocument/2006/relationships/image" Target="../media/image88.png"/><Relationship Id="rId10" Type="http://schemas.openxmlformats.org/officeDocument/2006/relationships/customXml" Target="../ink/ink38.xml"/><Relationship Id="rId31" Type="http://schemas.openxmlformats.org/officeDocument/2006/relationships/image" Target="../media/image75.png"/><Relationship Id="rId44" Type="http://schemas.openxmlformats.org/officeDocument/2006/relationships/customXml" Target="../ink/ink55.xml"/><Relationship Id="rId52" Type="http://schemas.openxmlformats.org/officeDocument/2006/relationships/customXml" Target="../ink/ink59.xml"/><Relationship Id="rId60" Type="http://schemas.openxmlformats.org/officeDocument/2006/relationships/customXml" Target="../ink/ink63.xml"/><Relationship Id="rId65" Type="http://schemas.openxmlformats.org/officeDocument/2006/relationships/image" Target="../media/image92.png"/><Relationship Id="rId73" Type="http://schemas.openxmlformats.org/officeDocument/2006/relationships/image" Target="../media/image96.png"/><Relationship Id="rId78" Type="http://schemas.openxmlformats.org/officeDocument/2006/relationships/customXml" Target="../ink/ink72.xml"/><Relationship Id="rId81" Type="http://schemas.openxmlformats.org/officeDocument/2006/relationships/image" Target="../media/image100.png"/><Relationship Id="rId4" Type="http://schemas.openxmlformats.org/officeDocument/2006/relationships/customXml" Target="../ink/ink35.xml"/><Relationship Id="rId9" Type="http://schemas.openxmlformats.org/officeDocument/2006/relationships/image" Target="../media/image64.png"/><Relationship Id="rId13" Type="http://schemas.openxmlformats.org/officeDocument/2006/relationships/image" Target="../media/image66.png"/><Relationship Id="rId18" Type="http://schemas.openxmlformats.org/officeDocument/2006/relationships/customXml" Target="../ink/ink42.xml"/><Relationship Id="rId39" Type="http://schemas.openxmlformats.org/officeDocument/2006/relationships/image" Target="../media/image79.png"/><Relationship Id="rId34" Type="http://schemas.openxmlformats.org/officeDocument/2006/relationships/customXml" Target="../ink/ink50.xml"/><Relationship Id="rId50" Type="http://schemas.openxmlformats.org/officeDocument/2006/relationships/customXml" Target="../ink/ink58.xml"/><Relationship Id="rId55" Type="http://schemas.openxmlformats.org/officeDocument/2006/relationships/image" Target="../media/image87.png"/><Relationship Id="rId76" Type="http://schemas.openxmlformats.org/officeDocument/2006/relationships/customXml" Target="../ink/ink71.xml"/><Relationship Id="rId7" Type="http://schemas.openxmlformats.org/officeDocument/2006/relationships/image" Target="../media/image63.png"/><Relationship Id="rId71" Type="http://schemas.openxmlformats.org/officeDocument/2006/relationships/image" Target="../media/image95.png"/><Relationship Id="rId2" Type="http://schemas.openxmlformats.org/officeDocument/2006/relationships/notesSlide" Target="../notesSlides/notesSlide20.xml"/><Relationship Id="rId29" Type="http://schemas.openxmlformats.org/officeDocument/2006/relationships/image" Target="../media/image74.png"/><Relationship Id="rId24" Type="http://schemas.openxmlformats.org/officeDocument/2006/relationships/customXml" Target="../ink/ink45.xml"/><Relationship Id="rId40" Type="http://schemas.openxmlformats.org/officeDocument/2006/relationships/customXml" Target="../ink/ink53.xml"/><Relationship Id="rId45" Type="http://schemas.openxmlformats.org/officeDocument/2006/relationships/image" Target="../media/image82.png"/><Relationship Id="rId66" Type="http://schemas.openxmlformats.org/officeDocument/2006/relationships/customXml" Target="../ink/ink66.xml"/><Relationship Id="rId61" Type="http://schemas.openxmlformats.org/officeDocument/2006/relationships/image" Target="../media/image90.png"/><Relationship Id="rId82" Type="http://schemas.openxmlformats.org/officeDocument/2006/relationships/customXml" Target="../ink/ink7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7" Type="http://schemas.openxmlformats.org/officeDocument/2006/relationships/image" Target="../media/image10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customXml" Target="../ink/ink1.xml"/><Relationship Id="rId7" Type="http://schemas.openxmlformats.org/officeDocument/2006/relationships/customXml" Target="../ink/ink3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customXml" Target="../ink/ink2.xml"/><Relationship Id="rId10" Type="http://schemas.openxmlformats.org/officeDocument/2006/relationships/image" Target="../media/image6.png"/><Relationship Id="rId4" Type="http://schemas.openxmlformats.org/officeDocument/2006/relationships/image" Target="../media/image3.png"/><Relationship Id="rId9" Type="http://schemas.openxmlformats.org/officeDocument/2006/relationships/customXml" Target="../ink/ink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3.png"/><Relationship Id="rId4" Type="http://schemas.openxmlformats.org/officeDocument/2006/relationships/customXml" Target="../ink/ink7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7" Type="http://schemas.openxmlformats.org/officeDocument/2006/relationships/image" Target="../media/image11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78.xml"/><Relationship Id="rId5" Type="http://schemas.openxmlformats.org/officeDocument/2006/relationships/image" Target="../media/image115.png"/><Relationship Id="rId4" Type="http://schemas.openxmlformats.org/officeDocument/2006/relationships/customXml" Target="../ink/ink7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34.png"/><Relationship Id="rId21" Type="http://schemas.openxmlformats.org/officeDocument/2006/relationships/customXml" Target="../ink/ink87.xml"/><Relationship Id="rId42" Type="http://schemas.openxmlformats.org/officeDocument/2006/relationships/image" Target="../media/image142.png"/><Relationship Id="rId47" Type="http://schemas.openxmlformats.org/officeDocument/2006/relationships/customXml" Target="../ink/ink100.xml"/><Relationship Id="rId63" Type="http://schemas.openxmlformats.org/officeDocument/2006/relationships/customXml" Target="../ink/ink108.xml"/><Relationship Id="rId68" Type="http://schemas.openxmlformats.org/officeDocument/2006/relationships/image" Target="../media/image155.png"/><Relationship Id="rId84" Type="http://schemas.openxmlformats.org/officeDocument/2006/relationships/image" Target="../media/image163.png"/><Relationship Id="rId89" Type="http://schemas.openxmlformats.org/officeDocument/2006/relationships/customXml" Target="../ink/ink121.xml"/><Relationship Id="rId16" Type="http://schemas.openxmlformats.org/officeDocument/2006/relationships/image" Target="../media/image129.png"/><Relationship Id="rId11" Type="http://schemas.openxmlformats.org/officeDocument/2006/relationships/customXml" Target="../ink/ink82.xml"/><Relationship Id="rId32" Type="http://schemas.openxmlformats.org/officeDocument/2006/relationships/image" Target="../media/image137.png"/><Relationship Id="rId37" Type="http://schemas.openxmlformats.org/officeDocument/2006/relationships/customXml" Target="../ink/ink95.xml"/><Relationship Id="rId53" Type="http://schemas.openxmlformats.org/officeDocument/2006/relationships/customXml" Target="../ink/ink103.xml"/><Relationship Id="rId58" Type="http://schemas.openxmlformats.org/officeDocument/2006/relationships/image" Target="../media/image150.png"/><Relationship Id="rId74" Type="http://schemas.openxmlformats.org/officeDocument/2006/relationships/image" Target="../media/image158.png"/><Relationship Id="rId79" Type="http://schemas.openxmlformats.org/officeDocument/2006/relationships/customXml" Target="../ink/ink116.xml"/><Relationship Id="rId5" Type="http://schemas.openxmlformats.org/officeDocument/2006/relationships/customXml" Target="../ink/ink79.xml"/><Relationship Id="rId90" Type="http://schemas.openxmlformats.org/officeDocument/2006/relationships/image" Target="../media/image166.png"/><Relationship Id="rId14" Type="http://schemas.openxmlformats.org/officeDocument/2006/relationships/image" Target="../media/image128.png"/><Relationship Id="rId22" Type="http://schemas.openxmlformats.org/officeDocument/2006/relationships/image" Target="../media/image132.png"/><Relationship Id="rId27" Type="http://schemas.openxmlformats.org/officeDocument/2006/relationships/customXml" Target="../ink/ink90.xml"/><Relationship Id="rId30" Type="http://schemas.openxmlformats.org/officeDocument/2006/relationships/image" Target="../media/image136.png"/><Relationship Id="rId35" Type="http://schemas.openxmlformats.org/officeDocument/2006/relationships/customXml" Target="../ink/ink94.xml"/><Relationship Id="rId43" Type="http://schemas.openxmlformats.org/officeDocument/2006/relationships/customXml" Target="../ink/ink98.xml"/><Relationship Id="rId48" Type="http://schemas.openxmlformats.org/officeDocument/2006/relationships/image" Target="../media/image145.png"/><Relationship Id="rId56" Type="http://schemas.openxmlformats.org/officeDocument/2006/relationships/image" Target="../media/image149.png"/><Relationship Id="rId64" Type="http://schemas.openxmlformats.org/officeDocument/2006/relationships/image" Target="../media/image153.png"/><Relationship Id="rId69" Type="http://schemas.openxmlformats.org/officeDocument/2006/relationships/customXml" Target="../ink/ink111.xml"/><Relationship Id="rId77" Type="http://schemas.openxmlformats.org/officeDocument/2006/relationships/customXml" Target="../ink/ink115.xml"/><Relationship Id="rId8" Type="http://schemas.openxmlformats.org/officeDocument/2006/relationships/image" Target="../media/image125.png"/><Relationship Id="rId51" Type="http://schemas.openxmlformats.org/officeDocument/2006/relationships/customXml" Target="../ink/ink102.xml"/><Relationship Id="rId72" Type="http://schemas.openxmlformats.org/officeDocument/2006/relationships/image" Target="../media/image157.png"/><Relationship Id="rId80" Type="http://schemas.openxmlformats.org/officeDocument/2006/relationships/image" Target="../media/image161.png"/><Relationship Id="rId85" Type="http://schemas.openxmlformats.org/officeDocument/2006/relationships/customXml" Target="../ink/ink119.xml"/><Relationship Id="rId3" Type="http://schemas.openxmlformats.org/officeDocument/2006/relationships/image" Target="../media/image122.png"/><Relationship Id="rId12" Type="http://schemas.openxmlformats.org/officeDocument/2006/relationships/image" Target="../media/image127.png"/><Relationship Id="rId17" Type="http://schemas.openxmlformats.org/officeDocument/2006/relationships/customXml" Target="../ink/ink85.xml"/><Relationship Id="rId25" Type="http://schemas.openxmlformats.org/officeDocument/2006/relationships/customXml" Target="../ink/ink89.xml"/><Relationship Id="rId33" Type="http://schemas.openxmlformats.org/officeDocument/2006/relationships/customXml" Target="../ink/ink93.xml"/><Relationship Id="rId38" Type="http://schemas.openxmlformats.org/officeDocument/2006/relationships/image" Target="../media/image140.png"/><Relationship Id="rId46" Type="http://schemas.openxmlformats.org/officeDocument/2006/relationships/image" Target="../media/image144.png"/><Relationship Id="rId59" Type="http://schemas.openxmlformats.org/officeDocument/2006/relationships/customXml" Target="../ink/ink106.xml"/><Relationship Id="rId67" Type="http://schemas.openxmlformats.org/officeDocument/2006/relationships/customXml" Target="../ink/ink110.xml"/><Relationship Id="rId20" Type="http://schemas.openxmlformats.org/officeDocument/2006/relationships/image" Target="../media/image131.png"/><Relationship Id="rId41" Type="http://schemas.openxmlformats.org/officeDocument/2006/relationships/customXml" Target="../ink/ink97.xml"/><Relationship Id="rId54" Type="http://schemas.openxmlformats.org/officeDocument/2006/relationships/image" Target="../media/image148.png"/><Relationship Id="rId62" Type="http://schemas.openxmlformats.org/officeDocument/2006/relationships/image" Target="../media/image152.png"/><Relationship Id="rId70" Type="http://schemas.openxmlformats.org/officeDocument/2006/relationships/image" Target="../media/image156.png"/><Relationship Id="rId75" Type="http://schemas.openxmlformats.org/officeDocument/2006/relationships/customXml" Target="../ink/ink114.xml"/><Relationship Id="rId83" Type="http://schemas.openxmlformats.org/officeDocument/2006/relationships/customXml" Target="../ink/ink118.xml"/><Relationship Id="rId88" Type="http://schemas.openxmlformats.org/officeDocument/2006/relationships/image" Target="../media/image165.png"/><Relationship Id="rId91" Type="http://schemas.openxmlformats.org/officeDocument/2006/relationships/customXml" Target="../ink/ink1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4.png"/><Relationship Id="rId15" Type="http://schemas.openxmlformats.org/officeDocument/2006/relationships/customXml" Target="../ink/ink84.xml"/><Relationship Id="rId23" Type="http://schemas.openxmlformats.org/officeDocument/2006/relationships/customXml" Target="../ink/ink88.xml"/><Relationship Id="rId28" Type="http://schemas.openxmlformats.org/officeDocument/2006/relationships/image" Target="../media/image135.png"/><Relationship Id="rId36" Type="http://schemas.openxmlformats.org/officeDocument/2006/relationships/image" Target="../media/image139.png"/><Relationship Id="rId49" Type="http://schemas.openxmlformats.org/officeDocument/2006/relationships/customXml" Target="../ink/ink101.xml"/><Relationship Id="rId57" Type="http://schemas.openxmlformats.org/officeDocument/2006/relationships/customXml" Target="../ink/ink105.xml"/><Relationship Id="rId10" Type="http://schemas.openxmlformats.org/officeDocument/2006/relationships/image" Target="../media/image126.png"/><Relationship Id="rId31" Type="http://schemas.openxmlformats.org/officeDocument/2006/relationships/customXml" Target="../ink/ink92.xml"/><Relationship Id="rId44" Type="http://schemas.openxmlformats.org/officeDocument/2006/relationships/image" Target="../media/image143.png"/><Relationship Id="rId52" Type="http://schemas.openxmlformats.org/officeDocument/2006/relationships/image" Target="../media/image147.png"/><Relationship Id="rId60" Type="http://schemas.openxmlformats.org/officeDocument/2006/relationships/image" Target="../media/image151.png"/><Relationship Id="rId65" Type="http://schemas.openxmlformats.org/officeDocument/2006/relationships/customXml" Target="../ink/ink109.xml"/><Relationship Id="rId73" Type="http://schemas.openxmlformats.org/officeDocument/2006/relationships/customXml" Target="../ink/ink113.xml"/><Relationship Id="rId78" Type="http://schemas.openxmlformats.org/officeDocument/2006/relationships/image" Target="../media/image160.png"/><Relationship Id="rId81" Type="http://schemas.openxmlformats.org/officeDocument/2006/relationships/customXml" Target="../ink/ink117.xml"/><Relationship Id="rId86" Type="http://schemas.openxmlformats.org/officeDocument/2006/relationships/image" Target="../media/image164.png"/><Relationship Id="rId4" Type="http://schemas.openxmlformats.org/officeDocument/2006/relationships/image" Target="../media/image123.png"/><Relationship Id="rId9" Type="http://schemas.openxmlformats.org/officeDocument/2006/relationships/customXml" Target="../ink/ink81.xml"/><Relationship Id="rId13" Type="http://schemas.openxmlformats.org/officeDocument/2006/relationships/customXml" Target="../ink/ink83.xml"/><Relationship Id="rId18" Type="http://schemas.openxmlformats.org/officeDocument/2006/relationships/image" Target="../media/image130.png"/><Relationship Id="rId39" Type="http://schemas.openxmlformats.org/officeDocument/2006/relationships/customXml" Target="../ink/ink96.xml"/><Relationship Id="rId34" Type="http://schemas.openxmlformats.org/officeDocument/2006/relationships/image" Target="../media/image138.png"/><Relationship Id="rId50" Type="http://schemas.openxmlformats.org/officeDocument/2006/relationships/image" Target="../media/image146.png"/><Relationship Id="rId55" Type="http://schemas.openxmlformats.org/officeDocument/2006/relationships/customXml" Target="../ink/ink104.xml"/><Relationship Id="rId76" Type="http://schemas.openxmlformats.org/officeDocument/2006/relationships/image" Target="../media/image159.png"/><Relationship Id="rId7" Type="http://schemas.openxmlformats.org/officeDocument/2006/relationships/customXml" Target="../ink/ink80.xml"/><Relationship Id="rId71" Type="http://schemas.openxmlformats.org/officeDocument/2006/relationships/customXml" Target="../ink/ink112.xml"/><Relationship Id="rId92" Type="http://schemas.openxmlformats.org/officeDocument/2006/relationships/image" Target="../media/image167.png"/><Relationship Id="rId2" Type="http://schemas.openxmlformats.org/officeDocument/2006/relationships/notesSlide" Target="../notesSlides/notesSlide35.xml"/><Relationship Id="rId29" Type="http://schemas.openxmlformats.org/officeDocument/2006/relationships/customXml" Target="../ink/ink91.xml"/><Relationship Id="rId24" Type="http://schemas.openxmlformats.org/officeDocument/2006/relationships/image" Target="../media/image133.png"/><Relationship Id="rId40" Type="http://schemas.openxmlformats.org/officeDocument/2006/relationships/image" Target="../media/image141.png"/><Relationship Id="rId45" Type="http://schemas.openxmlformats.org/officeDocument/2006/relationships/customXml" Target="../ink/ink99.xml"/><Relationship Id="rId66" Type="http://schemas.openxmlformats.org/officeDocument/2006/relationships/image" Target="../media/image154.png"/><Relationship Id="rId87" Type="http://schemas.openxmlformats.org/officeDocument/2006/relationships/customXml" Target="../ink/ink120.xml"/><Relationship Id="rId61" Type="http://schemas.openxmlformats.org/officeDocument/2006/relationships/customXml" Target="../ink/ink107.xml"/><Relationship Id="rId82" Type="http://schemas.openxmlformats.org/officeDocument/2006/relationships/image" Target="../media/image162.png"/><Relationship Id="rId19" Type="http://schemas.openxmlformats.org/officeDocument/2006/relationships/customXml" Target="../ink/ink8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5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6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7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0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1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2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4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5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6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8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9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1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2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3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ustomXml" Target="../ink/ink5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customXml" Target="../ink/ink6.xml"/><Relationship Id="rId4" Type="http://schemas.openxmlformats.org/officeDocument/2006/relationships/image" Target="../media/image12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5.pn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6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7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8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9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0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1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2.png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3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5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png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7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8.png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FDB2C99-50C0-1CBF-A5F3-C9C85D7206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https://youtu.be/AXB6r-hjsig</a:t>
            </a:r>
            <a:endParaRPr lang="ko-KR" altLang="en-US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0D02589-7FB2-F177-8D48-3E9BD28C6C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>
                <a:hlinkClick r:id="rId2"/>
              </a:rPr>
              <a:t>https://youtu.be/Rvz4Cq55990</a:t>
            </a:r>
            <a:endParaRPr lang="en-US" altLang="ko-KR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834175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9F10BF-DE96-8A87-C040-57A921668A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617719B-D809-82C2-8CA1-68FBAADA6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715C5545-29A8-54A6-30AA-562769AE90D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43E1DFB6-D618-703C-BE5F-9437105EBB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7125" y="1185549"/>
            <a:ext cx="9497750" cy="448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198574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9E889F-17A9-D9EA-182F-F74309512B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A7BA59E-A348-7008-8554-6B0F901F7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0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C8886C6-3702-6AD1-9BD5-40A0310906D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09247494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71B007-6330-27CD-AF86-33A70DCDED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6E65151-BDF3-3554-3C07-51C6BF1A12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0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0BC3A16-EE3F-FF15-6094-0431602D27D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341819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FB76FA-CC90-AB8D-D0D1-581658F5C8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C0A8281-2536-3ACF-AD98-B35FFB81F2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3079BD5-9FE3-78BD-B2BA-FBDA4A0F8D0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B85865D-C196-D9C7-3274-764291260A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4283" y="1195075"/>
            <a:ext cx="9383434" cy="4467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5608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B7056E-C3A7-7EB2-E801-4A0782452B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CCE9D84-A47C-9D27-2CB0-C05EE12A8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3308AF0-731A-B3F3-317E-935EB3AC31D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45631BF1-DBD4-EDB2-7126-7624B26B1F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624" y="1261760"/>
            <a:ext cx="10040751" cy="433448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" name="잉크 1">
                <a:extLst>
                  <a:ext uri="{FF2B5EF4-FFF2-40B4-BE49-F238E27FC236}">
                    <a16:creationId xmlns:a16="http://schemas.microsoft.com/office/drawing/2014/main" id="{4091E84C-3AA9-4ABA-BA3E-BC858380A50E}"/>
                  </a:ext>
                </a:extLst>
              </p14:cNvPr>
              <p14:cNvContentPartPr/>
              <p14:nvPr/>
            </p14:nvContentPartPr>
            <p14:xfrm>
              <a:off x="6947421" y="358856"/>
              <a:ext cx="1993680" cy="1576080"/>
            </p14:xfrm>
          </p:contentPart>
        </mc:Choice>
        <mc:Fallback xmlns="">
          <p:pic>
            <p:nvPicPr>
              <p:cNvPr id="2" name="잉크 1">
                <a:extLst>
                  <a:ext uri="{FF2B5EF4-FFF2-40B4-BE49-F238E27FC236}">
                    <a16:creationId xmlns:a16="http://schemas.microsoft.com/office/drawing/2014/main" id="{4091E84C-3AA9-4ABA-BA3E-BC858380A50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938781" y="349856"/>
                <a:ext cx="2011320" cy="1593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5" name="잉크 4">
                <a:extLst>
                  <a:ext uri="{FF2B5EF4-FFF2-40B4-BE49-F238E27FC236}">
                    <a16:creationId xmlns:a16="http://schemas.microsoft.com/office/drawing/2014/main" id="{38CE4FD1-6CA4-49CC-84CB-39938F1F8B29}"/>
                  </a:ext>
                </a:extLst>
              </p14:cNvPr>
              <p14:cNvContentPartPr/>
              <p14:nvPr/>
            </p14:nvContentPartPr>
            <p14:xfrm>
              <a:off x="8378061" y="293696"/>
              <a:ext cx="82800" cy="102240"/>
            </p14:xfrm>
          </p:contentPart>
        </mc:Choice>
        <mc:Fallback xmlns="">
          <p:pic>
            <p:nvPicPr>
              <p:cNvPr id="5" name="잉크 4">
                <a:extLst>
                  <a:ext uri="{FF2B5EF4-FFF2-40B4-BE49-F238E27FC236}">
                    <a16:creationId xmlns:a16="http://schemas.microsoft.com/office/drawing/2014/main" id="{38CE4FD1-6CA4-49CC-84CB-39938F1F8B29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369421" y="284696"/>
                <a:ext cx="100440" cy="119880"/>
              </a:xfrm>
              <a:prstGeom prst="rect">
                <a:avLst/>
              </a:prstGeom>
            </p:spPr>
          </p:pic>
        </mc:Fallback>
      </mc:AlternateContent>
      <p:grpSp>
        <p:nvGrpSpPr>
          <p:cNvPr id="33" name="그룹 32">
            <a:extLst>
              <a:ext uri="{FF2B5EF4-FFF2-40B4-BE49-F238E27FC236}">
                <a16:creationId xmlns:a16="http://schemas.microsoft.com/office/drawing/2014/main" id="{F8FFD98A-4078-4BAA-8C0C-45BBC80A223B}"/>
              </a:ext>
            </a:extLst>
          </p:cNvPr>
          <p:cNvGrpSpPr/>
          <p:nvPr/>
        </p:nvGrpSpPr>
        <p:grpSpPr>
          <a:xfrm>
            <a:off x="5077941" y="448496"/>
            <a:ext cx="2353320" cy="653760"/>
            <a:chOff x="5077941" y="448496"/>
            <a:chExt cx="2353320" cy="6537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7" name="잉크 6">
                  <a:extLst>
                    <a:ext uri="{FF2B5EF4-FFF2-40B4-BE49-F238E27FC236}">
                      <a16:creationId xmlns:a16="http://schemas.microsoft.com/office/drawing/2014/main" id="{CC416A54-46BF-460D-AE7F-2E61791C86DD}"/>
                    </a:ext>
                  </a:extLst>
                </p14:cNvPr>
                <p14:cNvContentPartPr/>
                <p14:nvPr/>
              </p14:nvContentPartPr>
              <p14:xfrm>
                <a:off x="7288701" y="993176"/>
                <a:ext cx="142560" cy="109080"/>
              </p14:xfrm>
            </p:contentPart>
          </mc:Choice>
          <mc:Fallback xmlns="">
            <p:pic>
              <p:nvPicPr>
                <p:cNvPr id="7" name="잉크 6">
                  <a:extLst>
                    <a:ext uri="{FF2B5EF4-FFF2-40B4-BE49-F238E27FC236}">
                      <a16:creationId xmlns:a16="http://schemas.microsoft.com/office/drawing/2014/main" id="{CC416A54-46BF-460D-AE7F-2E61791C86DD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279701" y="984536"/>
                  <a:ext cx="160200" cy="126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8" name="잉크 7">
                  <a:extLst>
                    <a:ext uri="{FF2B5EF4-FFF2-40B4-BE49-F238E27FC236}">
                      <a16:creationId xmlns:a16="http://schemas.microsoft.com/office/drawing/2014/main" id="{367929C0-1CCC-436B-8219-B5192E9B0C8B}"/>
                    </a:ext>
                  </a:extLst>
                </p14:cNvPr>
                <p14:cNvContentPartPr/>
                <p14:nvPr/>
              </p14:nvContentPartPr>
              <p14:xfrm>
                <a:off x="6286101" y="904616"/>
                <a:ext cx="1045440" cy="75240"/>
              </p14:xfrm>
            </p:contentPart>
          </mc:Choice>
          <mc:Fallback xmlns="">
            <p:pic>
              <p:nvPicPr>
                <p:cNvPr id="8" name="잉크 7">
                  <a:extLst>
                    <a:ext uri="{FF2B5EF4-FFF2-40B4-BE49-F238E27FC236}">
                      <a16:creationId xmlns:a16="http://schemas.microsoft.com/office/drawing/2014/main" id="{367929C0-1CCC-436B-8219-B5192E9B0C8B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6277101" y="895616"/>
                  <a:ext cx="1063080" cy="92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1" name="잉크 10">
                  <a:extLst>
                    <a:ext uri="{FF2B5EF4-FFF2-40B4-BE49-F238E27FC236}">
                      <a16:creationId xmlns:a16="http://schemas.microsoft.com/office/drawing/2014/main" id="{2A5826E0-8FE4-4E6C-8D17-90B7751CB417}"/>
                    </a:ext>
                  </a:extLst>
                </p14:cNvPr>
                <p14:cNvContentPartPr/>
                <p14:nvPr/>
              </p14:nvContentPartPr>
              <p14:xfrm>
                <a:off x="5249661" y="497816"/>
                <a:ext cx="360" cy="227880"/>
              </p14:xfrm>
            </p:contentPart>
          </mc:Choice>
          <mc:Fallback xmlns="">
            <p:pic>
              <p:nvPicPr>
                <p:cNvPr id="11" name="잉크 10">
                  <a:extLst>
                    <a:ext uri="{FF2B5EF4-FFF2-40B4-BE49-F238E27FC236}">
                      <a16:creationId xmlns:a16="http://schemas.microsoft.com/office/drawing/2014/main" id="{2A5826E0-8FE4-4E6C-8D17-90B7751CB417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5240661" y="488816"/>
                  <a:ext cx="18000" cy="24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2" name="잉크 11">
                  <a:extLst>
                    <a:ext uri="{FF2B5EF4-FFF2-40B4-BE49-F238E27FC236}">
                      <a16:creationId xmlns:a16="http://schemas.microsoft.com/office/drawing/2014/main" id="{271520AE-CA0E-4B3D-9C60-328F93EF667A}"/>
                    </a:ext>
                  </a:extLst>
                </p14:cNvPr>
                <p14:cNvContentPartPr/>
                <p14:nvPr/>
              </p14:nvContentPartPr>
              <p14:xfrm>
                <a:off x="5077941" y="693656"/>
                <a:ext cx="199080" cy="81720"/>
              </p14:xfrm>
            </p:contentPart>
          </mc:Choice>
          <mc:Fallback xmlns="">
            <p:pic>
              <p:nvPicPr>
                <p:cNvPr id="12" name="잉크 11">
                  <a:extLst>
                    <a:ext uri="{FF2B5EF4-FFF2-40B4-BE49-F238E27FC236}">
                      <a16:creationId xmlns:a16="http://schemas.microsoft.com/office/drawing/2014/main" id="{271520AE-CA0E-4B3D-9C60-328F93EF667A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5069301" y="684656"/>
                  <a:ext cx="216720" cy="9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4" name="잉크 13">
                  <a:extLst>
                    <a:ext uri="{FF2B5EF4-FFF2-40B4-BE49-F238E27FC236}">
                      <a16:creationId xmlns:a16="http://schemas.microsoft.com/office/drawing/2014/main" id="{38DF4C13-29CF-4D88-A939-16AD22BC7392}"/>
                    </a:ext>
                  </a:extLst>
                </p14:cNvPr>
                <p14:cNvContentPartPr/>
                <p14:nvPr/>
              </p14:nvContentPartPr>
              <p14:xfrm>
                <a:off x="5249661" y="742616"/>
                <a:ext cx="49320" cy="6840"/>
              </p14:xfrm>
            </p:contentPart>
          </mc:Choice>
          <mc:Fallback xmlns="">
            <p:pic>
              <p:nvPicPr>
                <p:cNvPr id="14" name="잉크 13">
                  <a:extLst>
                    <a:ext uri="{FF2B5EF4-FFF2-40B4-BE49-F238E27FC236}">
                      <a16:creationId xmlns:a16="http://schemas.microsoft.com/office/drawing/2014/main" id="{38DF4C13-29CF-4D88-A939-16AD22BC7392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5240661" y="733616"/>
                  <a:ext cx="66960" cy="24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5" name="잉크 14">
                  <a:extLst>
                    <a:ext uri="{FF2B5EF4-FFF2-40B4-BE49-F238E27FC236}">
                      <a16:creationId xmlns:a16="http://schemas.microsoft.com/office/drawing/2014/main" id="{4162E03F-C56D-45EF-A966-E2751105AA40}"/>
                    </a:ext>
                  </a:extLst>
                </p14:cNvPr>
                <p14:cNvContentPartPr/>
                <p14:nvPr/>
              </p14:nvContentPartPr>
              <p14:xfrm>
                <a:off x="5282061" y="750536"/>
                <a:ext cx="360" cy="60840"/>
              </p14:xfrm>
            </p:contentPart>
          </mc:Choice>
          <mc:Fallback xmlns="">
            <p:pic>
              <p:nvPicPr>
                <p:cNvPr id="15" name="잉크 14">
                  <a:extLst>
                    <a:ext uri="{FF2B5EF4-FFF2-40B4-BE49-F238E27FC236}">
                      <a16:creationId xmlns:a16="http://schemas.microsoft.com/office/drawing/2014/main" id="{4162E03F-C56D-45EF-A966-E2751105AA40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5273061" y="741896"/>
                  <a:ext cx="18000" cy="78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16" name="잉크 15">
                  <a:extLst>
                    <a:ext uri="{FF2B5EF4-FFF2-40B4-BE49-F238E27FC236}">
                      <a16:creationId xmlns:a16="http://schemas.microsoft.com/office/drawing/2014/main" id="{85952619-F342-4DD1-9EB8-2D9B29AD1FD0}"/>
                    </a:ext>
                  </a:extLst>
                </p14:cNvPr>
                <p14:cNvContentPartPr/>
                <p14:nvPr/>
              </p14:nvContentPartPr>
              <p14:xfrm>
                <a:off x="5208621" y="848456"/>
                <a:ext cx="138240" cy="8640"/>
              </p14:xfrm>
            </p:contentPart>
          </mc:Choice>
          <mc:Fallback xmlns="">
            <p:pic>
              <p:nvPicPr>
                <p:cNvPr id="16" name="잉크 15">
                  <a:extLst>
                    <a:ext uri="{FF2B5EF4-FFF2-40B4-BE49-F238E27FC236}">
                      <a16:creationId xmlns:a16="http://schemas.microsoft.com/office/drawing/2014/main" id="{85952619-F342-4DD1-9EB8-2D9B29AD1FD0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5199981" y="839456"/>
                  <a:ext cx="155880" cy="2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18" name="잉크 17">
                  <a:extLst>
                    <a:ext uri="{FF2B5EF4-FFF2-40B4-BE49-F238E27FC236}">
                      <a16:creationId xmlns:a16="http://schemas.microsoft.com/office/drawing/2014/main" id="{DA24F8E6-756E-4648-BE2F-7604310236A2}"/>
                    </a:ext>
                  </a:extLst>
                </p14:cNvPr>
                <p14:cNvContentPartPr/>
                <p14:nvPr/>
              </p14:nvContentPartPr>
              <p14:xfrm>
                <a:off x="5404821" y="587456"/>
                <a:ext cx="360" cy="228960"/>
              </p14:xfrm>
            </p:contentPart>
          </mc:Choice>
          <mc:Fallback xmlns="">
            <p:pic>
              <p:nvPicPr>
                <p:cNvPr id="18" name="잉크 17">
                  <a:extLst>
                    <a:ext uri="{FF2B5EF4-FFF2-40B4-BE49-F238E27FC236}">
                      <a16:creationId xmlns:a16="http://schemas.microsoft.com/office/drawing/2014/main" id="{DA24F8E6-756E-4648-BE2F-7604310236A2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5395821" y="578816"/>
                  <a:ext cx="18000" cy="24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19" name="잉크 18">
                  <a:extLst>
                    <a:ext uri="{FF2B5EF4-FFF2-40B4-BE49-F238E27FC236}">
                      <a16:creationId xmlns:a16="http://schemas.microsoft.com/office/drawing/2014/main" id="{BA3D6E49-F401-470F-B188-674938C24A10}"/>
                    </a:ext>
                  </a:extLst>
                </p14:cNvPr>
                <p14:cNvContentPartPr/>
                <p14:nvPr/>
              </p14:nvContentPartPr>
              <p14:xfrm>
                <a:off x="5591661" y="579536"/>
                <a:ext cx="50400" cy="135360"/>
              </p14:xfrm>
            </p:contentPart>
          </mc:Choice>
          <mc:Fallback xmlns="">
            <p:pic>
              <p:nvPicPr>
                <p:cNvPr id="19" name="잉크 18">
                  <a:extLst>
                    <a:ext uri="{FF2B5EF4-FFF2-40B4-BE49-F238E27FC236}">
                      <a16:creationId xmlns:a16="http://schemas.microsoft.com/office/drawing/2014/main" id="{BA3D6E49-F401-470F-B188-674938C24A10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5582661" y="570536"/>
                  <a:ext cx="68040" cy="153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22" name="잉크 21">
                  <a:extLst>
                    <a:ext uri="{FF2B5EF4-FFF2-40B4-BE49-F238E27FC236}">
                      <a16:creationId xmlns:a16="http://schemas.microsoft.com/office/drawing/2014/main" id="{3AACE560-D760-4627-AF07-AF115A6779A9}"/>
                    </a:ext>
                  </a:extLst>
                </p14:cNvPr>
                <p14:cNvContentPartPr/>
                <p14:nvPr/>
              </p14:nvContentPartPr>
              <p14:xfrm>
                <a:off x="5633061" y="628496"/>
                <a:ext cx="44640" cy="73800"/>
              </p14:xfrm>
            </p:contentPart>
          </mc:Choice>
          <mc:Fallback xmlns="">
            <p:pic>
              <p:nvPicPr>
                <p:cNvPr id="22" name="잉크 21">
                  <a:extLst>
                    <a:ext uri="{FF2B5EF4-FFF2-40B4-BE49-F238E27FC236}">
                      <a16:creationId xmlns:a16="http://schemas.microsoft.com/office/drawing/2014/main" id="{3AACE560-D760-4627-AF07-AF115A6779A9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5624061" y="619496"/>
                  <a:ext cx="62280" cy="9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23" name="잉크 22">
                  <a:extLst>
                    <a:ext uri="{FF2B5EF4-FFF2-40B4-BE49-F238E27FC236}">
                      <a16:creationId xmlns:a16="http://schemas.microsoft.com/office/drawing/2014/main" id="{12336523-48B7-427E-A571-A00610540CF5}"/>
                    </a:ext>
                  </a:extLst>
                </p14:cNvPr>
                <p14:cNvContentPartPr/>
                <p14:nvPr/>
              </p14:nvContentPartPr>
              <p14:xfrm>
                <a:off x="5682021" y="611936"/>
                <a:ext cx="94320" cy="360"/>
              </p14:xfrm>
            </p:contentPart>
          </mc:Choice>
          <mc:Fallback xmlns="">
            <p:pic>
              <p:nvPicPr>
                <p:cNvPr id="23" name="잉크 22">
                  <a:extLst>
                    <a:ext uri="{FF2B5EF4-FFF2-40B4-BE49-F238E27FC236}">
                      <a16:creationId xmlns:a16="http://schemas.microsoft.com/office/drawing/2014/main" id="{12336523-48B7-427E-A571-A00610540CF5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5673021" y="602936"/>
                  <a:ext cx="11196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24" name="잉크 23">
                  <a:extLst>
                    <a:ext uri="{FF2B5EF4-FFF2-40B4-BE49-F238E27FC236}">
                      <a16:creationId xmlns:a16="http://schemas.microsoft.com/office/drawing/2014/main" id="{D93DF3A8-5637-4AE1-96B1-557FC6A75EB0}"/>
                    </a:ext>
                  </a:extLst>
                </p14:cNvPr>
                <p14:cNvContentPartPr/>
                <p14:nvPr/>
              </p14:nvContentPartPr>
              <p14:xfrm>
                <a:off x="5828901" y="505736"/>
                <a:ext cx="8640" cy="259920"/>
              </p14:xfrm>
            </p:contentPart>
          </mc:Choice>
          <mc:Fallback xmlns="">
            <p:pic>
              <p:nvPicPr>
                <p:cNvPr id="24" name="잉크 23">
                  <a:extLst>
                    <a:ext uri="{FF2B5EF4-FFF2-40B4-BE49-F238E27FC236}">
                      <a16:creationId xmlns:a16="http://schemas.microsoft.com/office/drawing/2014/main" id="{D93DF3A8-5637-4AE1-96B1-557FC6A75EB0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5820261" y="497096"/>
                  <a:ext cx="26280" cy="277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25" name="잉크 24">
                  <a:extLst>
                    <a:ext uri="{FF2B5EF4-FFF2-40B4-BE49-F238E27FC236}">
                      <a16:creationId xmlns:a16="http://schemas.microsoft.com/office/drawing/2014/main" id="{940311A4-EC38-4240-B222-9B8E8C4695C5}"/>
                    </a:ext>
                  </a:extLst>
                </p14:cNvPr>
                <p14:cNvContentPartPr/>
                <p14:nvPr/>
              </p14:nvContentPartPr>
              <p14:xfrm>
                <a:off x="5673381" y="824336"/>
                <a:ext cx="126000" cy="156960"/>
              </p14:xfrm>
            </p:contentPart>
          </mc:Choice>
          <mc:Fallback xmlns="">
            <p:pic>
              <p:nvPicPr>
                <p:cNvPr id="25" name="잉크 24">
                  <a:extLst>
                    <a:ext uri="{FF2B5EF4-FFF2-40B4-BE49-F238E27FC236}">
                      <a16:creationId xmlns:a16="http://schemas.microsoft.com/office/drawing/2014/main" id="{940311A4-EC38-4240-B222-9B8E8C4695C5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5664741" y="815696"/>
                  <a:ext cx="143640" cy="174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26" name="잉크 25">
                  <a:extLst>
                    <a:ext uri="{FF2B5EF4-FFF2-40B4-BE49-F238E27FC236}">
                      <a16:creationId xmlns:a16="http://schemas.microsoft.com/office/drawing/2014/main" id="{033E4E39-729D-4BFA-B16F-91397CBC8661}"/>
                    </a:ext>
                  </a:extLst>
                </p14:cNvPr>
                <p14:cNvContentPartPr/>
                <p14:nvPr/>
              </p14:nvContentPartPr>
              <p14:xfrm>
                <a:off x="6024741" y="497816"/>
                <a:ext cx="12240" cy="86400"/>
              </p14:xfrm>
            </p:contentPart>
          </mc:Choice>
          <mc:Fallback xmlns="">
            <p:pic>
              <p:nvPicPr>
                <p:cNvPr id="26" name="잉크 25">
                  <a:extLst>
                    <a:ext uri="{FF2B5EF4-FFF2-40B4-BE49-F238E27FC236}">
                      <a16:creationId xmlns:a16="http://schemas.microsoft.com/office/drawing/2014/main" id="{033E4E39-729D-4BFA-B16F-91397CBC8661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6016101" y="488816"/>
                  <a:ext cx="29880" cy="104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27" name="잉크 26">
                  <a:extLst>
                    <a:ext uri="{FF2B5EF4-FFF2-40B4-BE49-F238E27FC236}">
                      <a16:creationId xmlns:a16="http://schemas.microsoft.com/office/drawing/2014/main" id="{31D9EA44-FF9D-4DA4-8514-01BB85A422B9}"/>
                    </a:ext>
                  </a:extLst>
                </p14:cNvPr>
                <p14:cNvContentPartPr/>
                <p14:nvPr/>
              </p14:nvContentPartPr>
              <p14:xfrm>
                <a:off x="5902701" y="598256"/>
                <a:ext cx="254520" cy="22320"/>
              </p14:xfrm>
            </p:contentPart>
          </mc:Choice>
          <mc:Fallback xmlns="">
            <p:pic>
              <p:nvPicPr>
                <p:cNvPr id="27" name="잉크 26">
                  <a:extLst>
                    <a:ext uri="{FF2B5EF4-FFF2-40B4-BE49-F238E27FC236}">
                      <a16:creationId xmlns:a16="http://schemas.microsoft.com/office/drawing/2014/main" id="{31D9EA44-FF9D-4DA4-8514-01BB85A422B9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5893701" y="589256"/>
                  <a:ext cx="272160" cy="3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28" name="잉크 27">
                  <a:extLst>
                    <a:ext uri="{FF2B5EF4-FFF2-40B4-BE49-F238E27FC236}">
                      <a16:creationId xmlns:a16="http://schemas.microsoft.com/office/drawing/2014/main" id="{325C9078-B175-4575-89B5-3AA552E162FB}"/>
                    </a:ext>
                  </a:extLst>
                </p14:cNvPr>
                <p14:cNvContentPartPr/>
                <p14:nvPr/>
              </p14:nvContentPartPr>
              <p14:xfrm>
                <a:off x="5941581" y="677456"/>
                <a:ext cx="158760" cy="115920"/>
              </p14:xfrm>
            </p:contentPart>
          </mc:Choice>
          <mc:Fallback xmlns="">
            <p:pic>
              <p:nvPicPr>
                <p:cNvPr id="28" name="잉크 27">
                  <a:extLst>
                    <a:ext uri="{FF2B5EF4-FFF2-40B4-BE49-F238E27FC236}">
                      <a16:creationId xmlns:a16="http://schemas.microsoft.com/office/drawing/2014/main" id="{325C9078-B175-4575-89B5-3AA552E162FB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5932941" y="668456"/>
                  <a:ext cx="176400" cy="133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30" name="잉크 29">
                  <a:extLst>
                    <a:ext uri="{FF2B5EF4-FFF2-40B4-BE49-F238E27FC236}">
                      <a16:creationId xmlns:a16="http://schemas.microsoft.com/office/drawing/2014/main" id="{D9DA0C83-2A1E-4D89-A252-820499E50504}"/>
                    </a:ext>
                  </a:extLst>
                </p14:cNvPr>
                <p14:cNvContentPartPr/>
                <p14:nvPr/>
              </p14:nvContentPartPr>
              <p14:xfrm>
                <a:off x="6171981" y="448496"/>
                <a:ext cx="38160" cy="432720"/>
              </p14:xfrm>
            </p:contentPart>
          </mc:Choice>
          <mc:Fallback xmlns="">
            <p:pic>
              <p:nvPicPr>
                <p:cNvPr id="30" name="잉크 29">
                  <a:extLst>
                    <a:ext uri="{FF2B5EF4-FFF2-40B4-BE49-F238E27FC236}">
                      <a16:creationId xmlns:a16="http://schemas.microsoft.com/office/drawing/2014/main" id="{D9DA0C83-2A1E-4D89-A252-820499E50504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6162981" y="439856"/>
                  <a:ext cx="55800" cy="45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31" name="잉크 30">
                  <a:extLst>
                    <a:ext uri="{FF2B5EF4-FFF2-40B4-BE49-F238E27FC236}">
                      <a16:creationId xmlns:a16="http://schemas.microsoft.com/office/drawing/2014/main" id="{BED06F10-AD80-4345-B564-A756B32856E8}"/>
                    </a:ext>
                  </a:extLst>
                </p14:cNvPr>
                <p14:cNvContentPartPr/>
                <p14:nvPr/>
              </p14:nvContentPartPr>
              <p14:xfrm>
                <a:off x="6220941" y="727136"/>
                <a:ext cx="55800" cy="7560"/>
              </p14:xfrm>
            </p:contentPart>
          </mc:Choice>
          <mc:Fallback xmlns="">
            <p:pic>
              <p:nvPicPr>
                <p:cNvPr id="31" name="잉크 30">
                  <a:extLst>
                    <a:ext uri="{FF2B5EF4-FFF2-40B4-BE49-F238E27FC236}">
                      <a16:creationId xmlns:a16="http://schemas.microsoft.com/office/drawing/2014/main" id="{BED06F10-AD80-4345-B564-A756B32856E8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6211941" y="718136"/>
                  <a:ext cx="73440" cy="25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32" name="잉크 31">
                  <a:extLst>
                    <a:ext uri="{FF2B5EF4-FFF2-40B4-BE49-F238E27FC236}">
                      <a16:creationId xmlns:a16="http://schemas.microsoft.com/office/drawing/2014/main" id="{CC86C245-2883-41D9-B78A-3DE7556A5289}"/>
                    </a:ext>
                  </a:extLst>
                </p14:cNvPr>
                <p14:cNvContentPartPr/>
                <p14:nvPr/>
              </p14:nvContentPartPr>
              <p14:xfrm>
                <a:off x="6302661" y="538496"/>
                <a:ext cx="27720" cy="285480"/>
              </p14:xfrm>
            </p:contentPart>
          </mc:Choice>
          <mc:Fallback xmlns="">
            <p:pic>
              <p:nvPicPr>
                <p:cNvPr id="32" name="잉크 31">
                  <a:extLst>
                    <a:ext uri="{FF2B5EF4-FFF2-40B4-BE49-F238E27FC236}">
                      <a16:creationId xmlns:a16="http://schemas.microsoft.com/office/drawing/2014/main" id="{CC86C245-2883-41D9-B78A-3DE7556A5289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6293661" y="529856"/>
                  <a:ext cx="45360" cy="30312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8825960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B08D35-B568-4CC5-1ACB-4F50A6D0CB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80FB14C-EC4C-1C10-46DC-A3790E7830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EFF570C-9988-D406-CF04-147D2E93D9F9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FBC455F-D724-D9D8-3678-189215BED5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2756" y="1018838"/>
            <a:ext cx="10126488" cy="4820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6164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39AEC-342A-6774-7296-5B5285FE33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33DCEEF-6CD4-C3A6-E2EF-C21232FE8E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E16FA3F-EEE9-B6C7-3171-1C04E884BC4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9A0A25A-C353-4D22-AE54-97710B36D5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3203" y="1304628"/>
            <a:ext cx="10345594" cy="4248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8873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AD8D8D-A8C2-BE48-FA51-215E4AA78F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C90175C-AE1F-9B60-E16D-1CCC733EB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8966A34-7457-7224-EB6F-09BF16AEBAEE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247E98C-E365-5DA7-A74F-02B52476CD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6677" y="971207"/>
            <a:ext cx="9278645" cy="4915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5474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953338-6904-F4D6-3C33-DE9B3103E8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67356ED-4CA7-F5FF-9801-B561271568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CD9E055-FC2F-6E17-5745-A07E636D2E1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D8B4BBF1-B99D-D000-F734-B6BEC2E5A2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5944" y="1147444"/>
            <a:ext cx="4020111" cy="4563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8789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B852CA-0559-7F98-4E63-ADFC73DDE1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4911C07-B2BD-9217-D675-F4D7B4E66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F6C4A94-C8A7-DF90-68D2-9A4DD14D07B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BD27623-8746-255E-57E4-AC52876F4A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1520" y="942628"/>
            <a:ext cx="8668960" cy="4972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9815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90F0CC-F30D-2EAA-2EA6-1C4F9CC945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A3EF152-925C-CDA2-AA23-95FA5316F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1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9087330A-CD54-BFF3-EFD7-A4D64F31FA4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F17583F-3939-38CD-F766-F76197C702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3626" y="1890498"/>
            <a:ext cx="7144747" cy="3077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6083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EFBD7DD-45FB-1C1A-67BE-C3B01FEFA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30E2441-3A39-37F9-C6BF-074BFD6F20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https://youtu.be/tZu4x5825LI</a:t>
            </a:r>
            <a:endParaRPr lang="ko-KR" altLang="en-US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ED4E3452-3744-4C02-9900-1DA32A7B65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8311" y="3429000"/>
            <a:ext cx="9655377" cy="2248095"/>
          </a:xfrm>
          <a:prstGeom prst="rect">
            <a:avLst/>
          </a:prstGeom>
        </p:spPr>
      </p:pic>
      <p:grpSp>
        <p:nvGrpSpPr>
          <p:cNvPr id="14" name="그룹 13">
            <a:extLst>
              <a:ext uri="{FF2B5EF4-FFF2-40B4-BE49-F238E27FC236}">
                <a16:creationId xmlns:a16="http://schemas.microsoft.com/office/drawing/2014/main" id="{7F65727E-FB95-48DA-A962-21C9CDAE269F}"/>
              </a:ext>
            </a:extLst>
          </p:cNvPr>
          <p:cNvGrpSpPr/>
          <p:nvPr/>
        </p:nvGrpSpPr>
        <p:grpSpPr>
          <a:xfrm>
            <a:off x="6789021" y="2644856"/>
            <a:ext cx="1668960" cy="1183320"/>
            <a:chOff x="6789021" y="2644856"/>
            <a:chExt cx="1668960" cy="11833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">
              <p14:nvContentPartPr>
                <p14:cNvPr id="10" name="잉크 9">
                  <a:extLst>
                    <a:ext uri="{FF2B5EF4-FFF2-40B4-BE49-F238E27FC236}">
                      <a16:creationId xmlns:a16="http://schemas.microsoft.com/office/drawing/2014/main" id="{19B7A9B8-8E6E-4DED-ACC4-03B8ED04DC95}"/>
                    </a:ext>
                  </a:extLst>
                </p14:cNvPr>
                <p14:cNvContentPartPr/>
                <p14:nvPr/>
              </p14:nvContentPartPr>
              <p14:xfrm>
                <a:off x="6789021" y="2644856"/>
                <a:ext cx="975240" cy="1068120"/>
              </p14:xfrm>
            </p:contentPart>
          </mc:Choice>
          <mc:Fallback xmlns="">
            <p:pic>
              <p:nvPicPr>
                <p:cNvPr id="10" name="잉크 9">
                  <a:extLst>
                    <a:ext uri="{FF2B5EF4-FFF2-40B4-BE49-F238E27FC236}">
                      <a16:creationId xmlns:a16="http://schemas.microsoft.com/office/drawing/2014/main" id="{19B7A9B8-8E6E-4DED-ACC4-03B8ED04DC95}"/>
                    </a:ext>
                  </a:extLst>
                </p:cNvPr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6780381" y="2635856"/>
                  <a:ext cx="992880" cy="1085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11" name="잉크 10">
                  <a:extLst>
                    <a:ext uri="{FF2B5EF4-FFF2-40B4-BE49-F238E27FC236}">
                      <a16:creationId xmlns:a16="http://schemas.microsoft.com/office/drawing/2014/main" id="{6C925CC3-4738-4DE4-A05A-4B7EF2ABFBF2}"/>
                    </a:ext>
                  </a:extLst>
                </p14:cNvPr>
                <p14:cNvContentPartPr/>
                <p14:nvPr/>
              </p14:nvContentPartPr>
              <p14:xfrm>
                <a:off x="7743741" y="2976416"/>
                <a:ext cx="714240" cy="851760"/>
              </p14:xfrm>
            </p:contentPart>
          </mc:Choice>
          <mc:Fallback xmlns="">
            <p:pic>
              <p:nvPicPr>
                <p:cNvPr id="11" name="잉크 10">
                  <a:extLst>
                    <a:ext uri="{FF2B5EF4-FFF2-40B4-BE49-F238E27FC236}">
                      <a16:creationId xmlns:a16="http://schemas.microsoft.com/office/drawing/2014/main" id="{6C925CC3-4738-4DE4-A05A-4B7EF2ABFBF2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7734741" y="2967416"/>
                  <a:ext cx="731880" cy="869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13" name="잉크 12">
                  <a:extLst>
                    <a:ext uri="{FF2B5EF4-FFF2-40B4-BE49-F238E27FC236}">
                      <a16:creationId xmlns:a16="http://schemas.microsoft.com/office/drawing/2014/main" id="{170237A2-2471-4775-AB6A-9B3462F0C448}"/>
                    </a:ext>
                  </a:extLst>
                </p14:cNvPr>
                <p14:cNvContentPartPr/>
                <p14:nvPr/>
              </p14:nvContentPartPr>
              <p14:xfrm>
                <a:off x="7694061" y="2816216"/>
                <a:ext cx="111240" cy="277920"/>
              </p14:xfrm>
            </p:contentPart>
          </mc:Choice>
          <mc:Fallback xmlns="">
            <p:pic>
              <p:nvPicPr>
                <p:cNvPr id="13" name="잉크 12">
                  <a:extLst>
                    <a:ext uri="{FF2B5EF4-FFF2-40B4-BE49-F238E27FC236}">
                      <a16:creationId xmlns:a16="http://schemas.microsoft.com/office/drawing/2014/main" id="{170237A2-2471-4775-AB6A-9B3462F0C448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7685061" y="2807216"/>
                  <a:ext cx="128880" cy="29556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2168296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57167B-2FF8-D9FE-B183-ECB3899393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1FF3509-5D08-B940-2AFA-64151CF226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E380E59-A770-9E51-C69C-E735D156910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2B5D71A-4215-C34A-E764-A5EFD2D2CD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4812" y="2881236"/>
            <a:ext cx="5382376" cy="1095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1965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16B0AA-E5B4-7F8C-DCB0-B478F43177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9F79655-634B-CE2F-386D-1C2108219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72AE54C-6B8D-DAF4-4FD0-D25F9C2A14D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A04C3A3-9B9C-C4BA-813A-42431E2F08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2861" y="1075996"/>
            <a:ext cx="9326277" cy="4706007"/>
          </a:xfrm>
          <a:prstGeom prst="rect">
            <a:avLst/>
          </a:prstGeom>
        </p:spPr>
      </p:pic>
      <p:grpSp>
        <p:nvGrpSpPr>
          <p:cNvPr id="7" name="그룹 6">
            <a:extLst>
              <a:ext uri="{FF2B5EF4-FFF2-40B4-BE49-F238E27FC236}">
                <a16:creationId xmlns:a16="http://schemas.microsoft.com/office/drawing/2014/main" id="{73B506BF-CA54-4EE0-A2B4-703A31E2CEB2}"/>
              </a:ext>
            </a:extLst>
          </p:cNvPr>
          <p:cNvGrpSpPr/>
          <p:nvPr/>
        </p:nvGrpSpPr>
        <p:grpSpPr>
          <a:xfrm>
            <a:off x="7403541" y="1264616"/>
            <a:ext cx="1359720" cy="1132560"/>
            <a:chOff x="7403541" y="1264616"/>
            <a:chExt cx="1359720" cy="11325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">
              <p14:nvContentPartPr>
                <p14:cNvPr id="2" name="잉크 1">
                  <a:extLst>
                    <a:ext uri="{FF2B5EF4-FFF2-40B4-BE49-F238E27FC236}">
                      <a16:creationId xmlns:a16="http://schemas.microsoft.com/office/drawing/2014/main" id="{7A120982-4C6C-4A41-BDEF-430C7F950B84}"/>
                    </a:ext>
                  </a:extLst>
                </p14:cNvPr>
                <p14:cNvContentPartPr/>
                <p14:nvPr/>
              </p14:nvContentPartPr>
              <p14:xfrm>
                <a:off x="7403541" y="1264616"/>
                <a:ext cx="658440" cy="1047600"/>
              </p14:xfrm>
            </p:contentPart>
          </mc:Choice>
          <mc:Fallback xmlns="">
            <p:pic>
              <p:nvPicPr>
                <p:cNvPr id="2" name="잉크 1">
                  <a:extLst>
                    <a:ext uri="{FF2B5EF4-FFF2-40B4-BE49-F238E27FC236}">
                      <a16:creationId xmlns:a16="http://schemas.microsoft.com/office/drawing/2014/main" id="{7A120982-4C6C-4A41-BDEF-430C7F950B84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7394901" y="1255976"/>
                  <a:ext cx="676080" cy="1065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5" name="잉크 4">
                  <a:extLst>
                    <a:ext uri="{FF2B5EF4-FFF2-40B4-BE49-F238E27FC236}">
                      <a16:creationId xmlns:a16="http://schemas.microsoft.com/office/drawing/2014/main" id="{16A5FEAF-D0CC-4C96-B3C1-DC58539D7EF7}"/>
                    </a:ext>
                  </a:extLst>
                </p14:cNvPr>
                <p14:cNvContentPartPr/>
                <p14:nvPr/>
              </p14:nvContentPartPr>
              <p14:xfrm>
                <a:off x="8288421" y="1302776"/>
                <a:ext cx="474840" cy="1094400"/>
              </p14:xfrm>
            </p:contentPart>
          </mc:Choice>
          <mc:Fallback xmlns="">
            <p:pic>
              <p:nvPicPr>
                <p:cNvPr id="5" name="잉크 4">
                  <a:extLst>
                    <a:ext uri="{FF2B5EF4-FFF2-40B4-BE49-F238E27FC236}">
                      <a16:creationId xmlns:a16="http://schemas.microsoft.com/office/drawing/2014/main" id="{16A5FEAF-D0CC-4C96-B3C1-DC58539D7EF7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8279781" y="1293776"/>
                  <a:ext cx="492480" cy="111204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24134211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67E2C1-F8CE-53D3-8A6F-A64E8265C4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EF64608-1649-8FF2-3832-BE7B46357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DBF2B35-F43A-22D4-B3C2-C2FBE9D4FAB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7991406-3F01-5287-0338-215579B7DE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9440" y="1576129"/>
            <a:ext cx="9993120" cy="3705742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5" name="잉크 4">
                <a:extLst>
                  <a:ext uri="{FF2B5EF4-FFF2-40B4-BE49-F238E27FC236}">
                    <a16:creationId xmlns:a16="http://schemas.microsoft.com/office/drawing/2014/main" id="{456010B3-E10B-42C0-A9ED-0B82D99DAD68}"/>
                  </a:ext>
                </a:extLst>
              </p14:cNvPr>
              <p14:cNvContentPartPr/>
              <p14:nvPr/>
            </p14:nvContentPartPr>
            <p14:xfrm>
              <a:off x="1902021" y="3273776"/>
              <a:ext cx="3446640" cy="498960"/>
            </p14:xfrm>
          </p:contentPart>
        </mc:Choice>
        <mc:Fallback xmlns="">
          <p:pic>
            <p:nvPicPr>
              <p:cNvPr id="5" name="잉크 4">
                <a:extLst>
                  <a:ext uri="{FF2B5EF4-FFF2-40B4-BE49-F238E27FC236}">
                    <a16:creationId xmlns:a16="http://schemas.microsoft.com/office/drawing/2014/main" id="{456010B3-E10B-42C0-A9ED-0B82D99DAD68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893021" y="3264776"/>
                <a:ext cx="3464280" cy="516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7" name="잉크 6">
                <a:extLst>
                  <a:ext uri="{FF2B5EF4-FFF2-40B4-BE49-F238E27FC236}">
                    <a16:creationId xmlns:a16="http://schemas.microsoft.com/office/drawing/2014/main" id="{D7A6AE9D-C506-402F-9BC5-4DAD869F3D8E}"/>
                  </a:ext>
                </a:extLst>
              </p14:cNvPr>
              <p14:cNvContentPartPr/>
              <p14:nvPr/>
            </p14:nvContentPartPr>
            <p14:xfrm>
              <a:off x="6278181" y="3222656"/>
              <a:ext cx="2809800" cy="566280"/>
            </p14:xfrm>
          </p:contentPart>
        </mc:Choice>
        <mc:Fallback xmlns="">
          <p:pic>
            <p:nvPicPr>
              <p:cNvPr id="7" name="잉크 6">
                <a:extLst>
                  <a:ext uri="{FF2B5EF4-FFF2-40B4-BE49-F238E27FC236}">
                    <a16:creationId xmlns:a16="http://schemas.microsoft.com/office/drawing/2014/main" id="{D7A6AE9D-C506-402F-9BC5-4DAD869F3D8E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269541" y="3214016"/>
                <a:ext cx="2827440" cy="583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6314268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D02DA6-2F31-4843-C96A-CB899D6C09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40B2671-99FB-8D74-DD09-E44E0CEEF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9A492428-AF91-496D-8997-E6A014525E6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03C708E-D61B-D495-6EBC-D6B73E0ACD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1888" y="1142681"/>
            <a:ext cx="9488224" cy="457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1181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235264-AA08-5DA8-CF0A-2E0BC50C08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675866E-ECF1-7854-F03D-BD43C7376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7BA48E9-7FBE-55BD-85E6-EE194F9DDC5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12FA3BE6-632E-AE3F-6F6A-E4E610CEF9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0440" y="1071233"/>
            <a:ext cx="9631119" cy="4715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35268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7FDEB1-547E-8092-93FB-8D7151CC2B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5B9411A-9F32-4351-A832-633F1DA76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60ACEC9-3284-E5BE-FEA4-4564169231D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B34B93E-2B77-7FE6-4199-45DCE984C1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9967" y="1052181"/>
            <a:ext cx="9612066" cy="4753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5987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4FAF7C-3FE8-B87C-EED0-DD91982684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2D332A5-85E2-A243-7EAD-38A6EE2516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DD8BFB5-5A6A-AEA8-F271-4EF78535126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7196930-406C-E1CD-01FB-F81F512B9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5203" y="990259"/>
            <a:ext cx="9621593" cy="4877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5343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01D246-9486-56B3-163E-FC9E969DCD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C37768F-98A4-27B2-5160-678EBC5D04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004FF278-4653-5544-438E-4B7EAD18747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0286DB4-95C5-DACC-2A28-85121AA552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1258" y="1599944"/>
            <a:ext cx="7049484" cy="3658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8402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4E7075-62D9-A6D7-9C0D-8FC35F6AA9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478F46F-F611-5FDF-18A0-555835007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F3503C5-6DE8-82CA-571C-A5A2C5C2284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BB4353E-6E51-B9DA-051B-2556E343B6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4862" y="1395128"/>
            <a:ext cx="8602275" cy="406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5819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AAFC43-3D6A-B332-4741-D793F1419F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C624B8F-4426-A2C4-1A75-C95839DB36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68EE8A9-416D-B601-2376-40D3E803966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9A40C78-50A9-55A5-3C3F-4C3DF5EC45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15838" y="273782"/>
            <a:ext cx="6811326" cy="6363588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74" name="잉크 73">
                <a:extLst>
                  <a:ext uri="{FF2B5EF4-FFF2-40B4-BE49-F238E27FC236}">
                    <a16:creationId xmlns:a16="http://schemas.microsoft.com/office/drawing/2014/main" id="{2581C1AC-6FAF-4EDD-B39E-E715234DF5CD}"/>
                  </a:ext>
                </a:extLst>
              </p14:cNvPr>
              <p14:cNvContentPartPr/>
              <p14:nvPr/>
            </p14:nvContentPartPr>
            <p14:xfrm>
              <a:off x="3559461" y="2407976"/>
              <a:ext cx="40320" cy="465120"/>
            </p14:xfrm>
          </p:contentPart>
        </mc:Choice>
        <mc:Fallback xmlns="">
          <p:pic>
            <p:nvPicPr>
              <p:cNvPr id="74" name="잉크 73">
                <a:extLst>
                  <a:ext uri="{FF2B5EF4-FFF2-40B4-BE49-F238E27FC236}">
                    <a16:creationId xmlns:a16="http://schemas.microsoft.com/office/drawing/2014/main" id="{2581C1AC-6FAF-4EDD-B39E-E715234DF5CD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550461" y="2399336"/>
                <a:ext cx="57960" cy="482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12" name="잉크 111">
                <a:extLst>
                  <a:ext uri="{FF2B5EF4-FFF2-40B4-BE49-F238E27FC236}">
                    <a16:creationId xmlns:a16="http://schemas.microsoft.com/office/drawing/2014/main" id="{015DBF06-E5E5-4972-A51C-A9F4861B43E9}"/>
                  </a:ext>
                </a:extLst>
              </p14:cNvPr>
              <p14:cNvContentPartPr/>
              <p14:nvPr/>
            </p14:nvContentPartPr>
            <p14:xfrm>
              <a:off x="2261301" y="3175496"/>
              <a:ext cx="171000" cy="238680"/>
            </p14:xfrm>
          </p:contentPart>
        </mc:Choice>
        <mc:Fallback xmlns="">
          <p:pic>
            <p:nvPicPr>
              <p:cNvPr id="112" name="잉크 111">
                <a:extLst>
                  <a:ext uri="{FF2B5EF4-FFF2-40B4-BE49-F238E27FC236}">
                    <a16:creationId xmlns:a16="http://schemas.microsoft.com/office/drawing/2014/main" id="{015DBF06-E5E5-4972-A51C-A9F4861B43E9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252661" y="3166856"/>
                <a:ext cx="188640" cy="256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118" name="잉크 117">
                <a:extLst>
                  <a:ext uri="{FF2B5EF4-FFF2-40B4-BE49-F238E27FC236}">
                    <a16:creationId xmlns:a16="http://schemas.microsoft.com/office/drawing/2014/main" id="{EDFDA504-8DBF-43DA-BFF6-936D96C16ECE}"/>
                  </a:ext>
                </a:extLst>
              </p14:cNvPr>
              <p14:cNvContentPartPr/>
              <p14:nvPr/>
            </p14:nvContentPartPr>
            <p14:xfrm>
              <a:off x="4147341" y="3142736"/>
              <a:ext cx="163080" cy="344520"/>
            </p14:xfrm>
          </p:contentPart>
        </mc:Choice>
        <mc:Fallback xmlns="">
          <p:pic>
            <p:nvPicPr>
              <p:cNvPr id="118" name="잉크 117">
                <a:extLst>
                  <a:ext uri="{FF2B5EF4-FFF2-40B4-BE49-F238E27FC236}">
                    <a16:creationId xmlns:a16="http://schemas.microsoft.com/office/drawing/2014/main" id="{EDFDA504-8DBF-43DA-BFF6-936D96C16ECE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138341" y="3134096"/>
                <a:ext cx="180720" cy="362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120" name="잉크 119">
                <a:extLst>
                  <a:ext uri="{FF2B5EF4-FFF2-40B4-BE49-F238E27FC236}">
                    <a16:creationId xmlns:a16="http://schemas.microsoft.com/office/drawing/2014/main" id="{10717F2A-ABDE-49CA-980E-9A5509FD4D9D}"/>
                  </a:ext>
                </a:extLst>
              </p14:cNvPr>
              <p14:cNvContentPartPr/>
              <p14:nvPr/>
            </p14:nvContentPartPr>
            <p14:xfrm>
              <a:off x="1256901" y="3755456"/>
              <a:ext cx="3944520" cy="753840"/>
            </p14:xfrm>
          </p:contentPart>
        </mc:Choice>
        <mc:Fallback xmlns="">
          <p:pic>
            <p:nvPicPr>
              <p:cNvPr id="120" name="잉크 119">
                <a:extLst>
                  <a:ext uri="{FF2B5EF4-FFF2-40B4-BE49-F238E27FC236}">
                    <a16:creationId xmlns:a16="http://schemas.microsoft.com/office/drawing/2014/main" id="{10717F2A-ABDE-49CA-980E-9A5509FD4D9D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248261" y="3746456"/>
                <a:ext cx="3962160" cy="771480"/>
              </a:xfrm>
              <a:prstGeom prst="rect">
                <a:avLst/>
              </a:prstGeom>
            </p:spPr>
          </p:pic>
        </mc:Fallback>
      </mc:AlternateContent>
      <p:grpSp>
        <p:nvGrpSpPr>
          <p:cNvPr id="133" name="그룹 132">
            <a:extLst>
              <a:ext uri="{FF2B5EF4-FFF2-40B4-BE49-F238E27FC236}">
                <a16:creationId xmlns:a16="http://schemas.microsoft.com/office/drawing/2014/main" id="{1A0452E7-D485-4962-9A1F-49C32C165036}"/>
              </a:ext>
            </a:extLst>
          </p:cNvPr>
          <p:cNvGrpSpPr/>
          <p:nvPr/>
        </p:nvGrpSpPr>
        <p:grpSpPr>
          <a:xfrm>
            <a:off x="1158621" y="1542536"/>
            <a:ext cx="3917880" cy="3104640"/>
            <a:chOff x="1158621" y="1542536"/>
            <a:chExt cx="3917880" cy="31046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47" name="잉크 46">
                  <a:extLst>
                    <a:ext uri="{FF2B5EF4-FFF2-40B4-BE49-F238E27FC236}">
                      <a16:creationId xmlns:a16="http://schemas.microsoft.com/office/drawing/2014/main" id="{E5FC7C9D-E90B-4E52-9C4A-845FB8928E75}"/>
                    </a:ext>
                  </a:extLst>
                </p14:cNvPr>
                <p14:cNvContentPartPr/>
                <p14:nvPr/>
              </p14:nvContentPartPr>
              <p14:xfrm>
                <a:off x="1158621" y="2359016"/>
                <a:ext cx="74520" cy="741960"/>
              </p14:xfrm>
            </p:contentPart>
          </mc:Choice>
          <mc:Fallback xmlns="">
            <p:pic>
              <p:nvPicPr>
                <p:cNvPr id="47" name="잉크 46">
                  <a:extLst>
                    <a:ext uri="{FF2B5EF4-FFF2-40B4-BE49-F238E27FC236}">
                      <a16:creationId xmlns:a16="http://schemas.microsoft.com/office/drawing/2014/main" id="{E5FC7C9D-E90B-4E52-9C4A-845FB8928E75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1149621" y="2350376"/>
                  <a:ext cx="92160" cy="759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48" name="잉크 47">
                  <a:extLst>
                    <a:ext uri="{FF2B5EF4-FFF2-40B4-BE49-F238E27FC236}">
                      <a16:creationId xmlns:a16="http://schemas.microsoft.com/office/drawing/2014/main" id="{959963B3-B858-4AFF-A20A-C4F9046123D9}"/>
                    </a:ext>
                  </a:extLst>
                </p14:cNvPr>
                <p14:cNvContentPartPr/>
                <p14:nvPr/>
              </p14:nvContentPartPr>
              <p14:xfrm>
                <a:off x="1200021" y="2188736"/>
                <a:ext cx="3836520" cy="883080"/>
              </p14:xfrm>
            </p:contentPart>
          </mc:Choice>
          <mc:Fallback xmlns="">
            <p:pic>
              <p:nvPicPr>
                <p:cNvPr id="48" name="잉크 47">
                  <a:extLst>
                    <a:ext uri="{FF2B5EF4-FFF2-40B4-BE49-F238E27FC236}">
                      <a16:creationId xmlns:a16="http://schemas.microsoft.com/office/drawing/2014/main" id="{959963B3-B858-4AFF-A20A-C4F9046123D9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1191021" y="2180096"/>
                  <a:ext cx="3854160" cy="900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50" name="잉크 49">
                  <a:extLst>
                    <a:ext uri="{FF2B5EF4-FFF2-40B4-BE49-F238E27FC236}">
                      <a16:creationId xmlns:a16="http://schemas.microsoft.com/office/drawing/2014/main" id="{9A7A88DE-126A-4BDB-B3F1-041BDEE76E6C}"/>
                    </a:ext>
                  </a:extLst>
                </p14:cNvPr>
                <p14:cNvContentPartPr/>
                <p14:nvPr/>
              </p14:nvContentPartPr>
              <p14:xfrm>
                <a:off x="1444821" y="1567376"/>
                <a:ext cx="21600" cy="313920"/>
              </p14:xfrm>
            </p:contentPart>
          </mc:Choice>
          <mc:Fallback xmlns="">
            <p:pic>
              <p:nvPicPr>
                <p:cNvPr id="50" name="잉크 49">
                  <a:extLst>
                    <a:ext uri="{FF2B5EF4-FFF2-40B4-BE49-F238E27FC236}">
                      <a16:creationId xmlns:a16="http://schemas.microsoft.com/office/drawing/2014/main" id="{9A7A88DE-126A-4BDB-B3F1-041BDEE76E6C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436181" y="1558376"/>
                  <a:ext cx="39240" cy="33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52" name="잉크 51">
                  <a:extLst>
                    <a:ext uri="{FF2B5EF4-FFF2-40B4-BE49-F238E27FC236}">
                      <a16:creationId xmlns:a16="http://schemas.microsoft.com/office/drawing/2014/main" id="{F8687B6F-0529-46CA-908B-CA50B2EB9C44}"/>
                    </a:ext>
                  </a:extLst>
                </p14:cNvPr>
                <p14:cNvContentPartPr/>
                <p14:nvPr/>
              </p14:nvContentPartPr>
              <p14:xfrm>
                <a:off x="1967541" y="2285936"/>
                <a:ext cx="74160" cy="760320"/>
              </p14:xfrm>
            </p:contentPart>
          </mc:Choice>
          <mc:Fallback xmlns="">
            <p:pic>
              <p:nvPicPr>
                <p:cNvPr id="52" name="잉크 51">
                  <a:extLst>
                    <a:ext uri="{FF2B5EF4-FFF2-40B4-BE49-F238E27FC236}">
                      <a16:creationId xmlns:a16="http://schemas.microsoft.com/office/drawing/2014/main" id="{F8687B6F-0529-46CA-908B-CA50B2EB9C44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958541" y="2276936"/>
                  <a:ext cx="91800" cy="777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0">
              <p14:nvContentPartPr>
                <p14:cNvPr id="53" name="잉크 52">
                  <a:extLst>
                    <a:ext uri="{FF2B5EF4-FFF2-40B4-BE49-F238E27FC236}">
                      <a16:creationId xmlns:a16="http://schemas.microsoft.com/office/drawing/2014/main" id="{A5F604A4-4D97-41FF-9DF1-BF0A6AACAF33}"/>
                    </a:ext>
                  </a:extLst>
                </p14:cNvPr>
                <p14:cNvContentPartPr/>
                <p14:nvPr/>
              </p14:nvContentPartPr>
              <p14:xfrm>
                <a:off x="2530581" y="2359016"/>
                <a:ext cx="62640" cy="554400"/>
              </p14:xfrm>
            </p:contentPart>
          </mc:Choice>
          <mc:Fallback xmlns="">
            <p:pic>
              <p:nvPicPr>
                <p:cNvPr id="53" name="잉크 52">
                  <a:extLst>
                    <a:ext uri="{FF2B5EF4-FFF2-40B4-BE49-F238E27FC236}">
                      <a16:creationId xmlns:a16="http://schemas.microsoft.com/office/drawing/2014/main" id="{A5F604A4-4D97-41FF-9DF1-BF0A6AACAF33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2521941" y="2350376"/>
                  <a:ext cx="80280" cy="572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2">
              <p14:nvContentPartPr>
                <p14:cNvPr id="54" name="잉크 53">
                  <a:extLst>
                    <a:ext uri="{FF2B5EF4-FFF2-40B4-BE49-F238E27FC236}">
                      <a16:creationId xmlns:a16="http://schemas.microsoft.com/office/drawing/2014/main" id="{055FFEDD-DFAE-4D75-B749-EA0B50108CAB}"/>
                    </a:ext>
                  </a:extLst>
                </p14:cNvPr>
                <p14:cNvContentPartPr/>
                <p14:nvPr/>
              </p14:nvContentPartPr>
              <p14:xfrm>
                <a:off x="3239781" y="2285936"/>
                <a:ext cx="51480" cy="793080"/>
              </p14:xfrm>
            </p:contentPart>
          </mc:Choice>
          <mc:Fallback xmlns="">
            <p:pic>
              <p:nvPicPr>
                <p:cNvPr id="54" name="잉크 53">
                  <a:extLst>
                    <a:ext uri="{FF2B5EF4-FFF2-40B4-BE49-F238E27FC236}">
                      <a16:creationId xmlns:a16="http://schemas.microsoft.com/office/drawing/2014/main" id="{055FFEDD-DFAE-4D75-B749-EA0B50108CAB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3231141" y="2276936"/>
                  <a:ext cx="69120" cy="810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58" name="잉크 57">
                  <a:extLst>
                    <a:ext uri="{FF2B5EF4-FFF2-40B4-BE49-F238E27FC236}">
                      <a16:creationId xmlns:a16="http://schemas.microsoft.com/office/drawing/2014/main" id="{93DB0FEB-FD8A-4A19-B49A-067026FC6997}"/>
                    </a:ext>
                  </a:extLst>
                </p14:cNvPr>
                <p14:cNvContentPartPr/>
                <p14:nvPr/>
              </p14:nvContentPartPr>
              <p14:xfrm>
                <a:off x="2514381" y="2179376"/>
                <a:ext cx="93600" cy="865800"/>
              </p14:xfrm>
            </p:contentPart>
          </mc:Choice>
          <mc:Fallback xmlns="">
            <p:pic>
              <p:nvPicPr>
                <p:cNvPr id="58" name="잉크 57">
                  <a:extLst>
                    <a:ext uri="{FF2B5EF4-FFF2-40B4-BE49-F238E27FC236}">
                      <a16:creationId xmlns:a16="http://schemas.microsoft.com/office/drawing/2014/main" id="{93DB0FEB-FD8A-4A19-B49A-067026FC6997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2505741" y="2170376"/>
                  <a:ext cx="111240" cy="883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59" name="잉크 58">
                  <a:extLst>
                    <a:ext uri="{FF2B5EF4-FFF2-40B4-BE49-F238E27FC236}">
                      <a16:creationId xmlns:a16="http://schemas.microsoft.com/office/drawing/2014/main" id="{BA5755A9-5741-4595-B0E3-B598770E79EA}"/>
                    </a:ext>
                  </a:extLst>
                </p14:cNvPr>
                <p14:cNvContentPartPr/>
                <p14:nvPr/>
              </p14:nvContentPartPr>
              <p14:xfrm>
                <a:off x="2117301" y="1542536"/>
                <a:ext cx="585720" cy="459720"/>
              </p14:xfrm>
            </p:contentPart>
          </mc:Choice>
          <mc:Fallback xmlns="">
            <p:pic>
              <p:nvPicPr>
                <p:cNvPr id="59" name="잉크 58">
                  <a:extLst>
                    <a:ext uri="{FF2B5EF4-FFF2-40B4-BE49-F238E27FC236}">
                      <a16:creationId xmlns:a16="http://schemas.microsoft.com/office/drawing/2014/main" id="{BA5755A9-5741-4595-B0E3-B598770E79EA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2108661" y="1533896"/>
                  <a:ext cx="603360" cy="477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60" name="잉크 59">
                  <a:extLst>
                    <a:ext uri="{FF2B5EF4-FFF2-40B4-BE49-F238E27FC236}">
                      <a16:creationId xmlns:a16="http://schemas.microsoft.com/office/drawing/2014/main" id="{C59A6BC4-D1A1-4BE0-ADB8-3709B9D3D755}"/>
                    </a:ext>
                  </a:extLst>
                </p14:cNvPr>
                <p14:cNvContentPartPr/>
                <p14:nvPr/>
              </p14:nvContentPartPr>
              <p14:xfrm>
                <a:off x="2922621" y="1600136"/>
                <a:ext cx="373680" cy="524880"/>
              </p14:xfrm>
            </p:contentPart>
          </mc:Choice>
          <mc:Fallback xmlns="">
            <p:pic>
              <p:nvPicPr>
                <p:cNvPr id="60" name="잉크 59">
                  <a:extLst>
                    <a:ext uri="{FF2B5EF4-FFF2-40B4-BE49-F238E27FC236}">
                      <a16:creationId xmlns:a16="http://schemas.microsoft.com/office/drawing/2014/main" id="{C59A6BC4-D1A1-4BE0-ADB8-3709B9D3D755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2913621" y="1591136"/>
                  <a:ext cx="391320" cy="542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0">
              <p14:nvContentPartPr>
                <p14:cNvPr id="61" name="잉크 60">
                  <a:extLst>
                    <a:ext uri="{FF2B5EF4-FFF2-40B4-BE49-F238E27FC236}">
                      <a16:creationId xmlns:a16="http://schemas.microsoft.com/office/drawing/2014/main" id="{E1F7FB01-9F11-4F94-A23B-6C0DF5ED992F}"/>
                    </a:ext>
                  </a:extLst>
                </p14:cNvPr>
                <p14:cNvContentPartPr/>
                <p14:nvPr/>
              </p14:nvContentPartPr>
              <p14:xfrm>
                <a:off x="3421221" y="1583576"/>
                <a:ext cx="352800" cy="294120"/>
              </p14:xfrm>
            </p:contentPart>
          </mc:Choice>
          <mc:Fallback xmlns="">
            <p:pic>
              <p:nvPicPr>
                <p:cNvPr id="61" name="잉크 60">
                  <a:extLst>
                    <a:ext uri="{FF2B5EF4-FFF2-40B4-BE49-F238E27FC236}">
                      <a16:creationId xmlns:a16="http://schemas.microsoft.com/office/drawing/2014/main" id="{E1F7FB01-9F11-4F94-A23B-6C0DF5ED992F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3412221" y="1574576"/>
                  <a:ext cx="370440" cy="31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2">
              <p14:nvContentPartPr>
                <p14:cNvPr id="62" name="잉크 61">
                  <a:extLst>
                    <a:ext uri="{FF2B5EF4-FFF2-40B4-BE49-F238E27FC236}">
                      <a16:creationId xmlns:a16="http://schemas.microsoft.com/office/drawing/2014/main" id="{29A46B0D-0667-450C-B393-67C116388E08}"/>
                    </a:ext>
                  </a:extLst>
                </p14:cNvPr>
                <p14:cNvContentPartPr/>
                <p14:nvPr/>
              </p14:nvContentPartPr>
              <p14:xfrm>
                <a:off x="3543261" y="1559096"/>
                <a:ext cx="58320" cy="421920"/>
              </p14:xfrm>
            </p:contentPart>
          </mc:Choice>
          <mc:Fallback xmlns="">
            <p:pic>
              <p:nvPicPr>
                <p:cNvPr id="62" name="잉크 61">
                  <a:extLst>
                    <a:ext uri="{FF2B5EF4-FFF2-40B4-BE49-F238E27FC236}">
                      <a16:creationId xmlns:a16="http://schemas.microsoft.com/office/drawing/2014/main" id="{29A46B0D-0667-450C-B393-67C116388E08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3534261" y="1550456"/>
                  <a:ext cx="75960" cy="43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4">
              <p14:nvContentPartPr>
                <p14:cNvPr id="63" name="잉크 62">
                  <a:extLst>
                    <a:ext uri="{FF2B5EF4-FFF2-40B4-BE49-F238E27FC236}">
                      <a16:creationId xmlns:a16="http://schemas.microsoft.com/office/drawing/2014/main" id="{1F9F1761-4851-40E8-8D39-ED4C738C48DF}"/>
                    </a:ext>
                  </a:extLst>
                </p14:cNvPr>
                <p14:cNvContentPartPr/>
                <p14:nvPr/>
              </p14:nvContentPartPr>
              <p14:xfrm>
                <a:off x="3959421" y="1600136"/>
                <a:ext cx="137520" cy="15120"/>
              </p14:xfrm>
            </p:contentPart>
          </mc:Choice>
          <mc:Fallback xmlns="">
            <p:pic>
              <p:nvPicPr>
                <p:cNvPr id="63" name="잉크 62">
                  <a:extLst>
                    <a:ext uri="{FF2B5EF4-FFF2-40B4-BE49-F238E27FC236}">
                      <a16:creationId xmlns:a16="http://schemas.microsoft.com/office/drawing/2014/main" id="{1F9F1761-4851-40E8-8D39-ED4C738C48DF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3950421" y="1591136"/>
                  <a:ext cx="155160" cy="32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6">
              <p14:nvContentPartPr>
                <p14:cNvPr id="64" name="잉크 63">
                  <a:extLst>
                    <a:ext uri="{FF2B5EF4-FFF2-40B4-BE49-F238E27FC236}">
                      <a16:creationId xmlns:a16="http://schemas.microsoft.com/office/drawing/2014/main" id="{F8E1F978-7712-4477-94BC-7C5E5C1D207B}"/>
                    </a:ext>
                  </a:extLst>
                </p14:cNvPr>
                <p14:cNvContentPartPr/>
                <p14:nvPr/>
              </p14:nvContentPartPr>
              <p14:xfrm>
                <a:off x="3959061" y="1591496"/>
                <a:ext cx="214920" cy="348480"/>
              </p14:xfrm>
            </p:contentPart>
          </mc:Choice>
          <mc:Fallback xmlns="">
            <p:pic>
              <p:nvPicPr>
                <p:cNvPr id="64" name="잉크 63">
                  <a:extLst>
                    <a:ext uri="{FF2B5EF4-FFF2-40B4-BE49-F238E27FC236}">
                      <a16:creationId xmlns:a16="http://schemas.microsoft.com/office/drawing/2014/main" id="{F8E1F978-7712-4477-94BC-7C5E5C1D207B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3950421" y="1582856"/>
                  <a:ext cx="232560" cy="366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8">
              <p14:nvContentPartPr>
                <p14:cNvPr id="65" name="잉크 64">
                  <a:extLst>
                    <a:ext uri="{FF2B5EF4-FFF2-40B4-BE49-F238E27FC236}">
                      <a16:creationId xmlns:a16="http://schemas.microsoft.com/office/drawing/2014/main" id="{71E167EB-C3CC-4D07-84F3-3B192CF7DC7D}"/>
                    </a:ext>
                  </a:extLst>
                </p14:cNvPr>
                <p14:cNvContentPartPr/>
                <p14:nvPr/>
              </p14:nvContentPartPr>
              <p14:xfrm>
                <a:off x="4585101" y="1583576"/>
                <a:ext cx="133920" cy="335880"/>
              </p14:xfrm>
            </p:contentPart>
          </mc:Choice>
          <mc:Fallback xmlns="">
            <p:pic>
              <p:nvPicPr>
                <p:cNvPr id="65" name="잉크 64">
                  <a:extLst>
                    <a:ext uri="{FF2B5EF4-FFF2-40B4-BE49-F238E27FC236}">
                      <a16:creationId xmlns:a16="http://schemas.microsoft.com/office/drawing/2014/main" id="{71E167EB-C3CC-4D07-84F3-3B192CF7DC7D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4576461" y="1574576"/>
                  <a:ext cx="151560" cy="353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0">
              <p14:nvContentPartPr>
                <p14:cNvPr id="67" name="잉크 66">
                  <a:extLst>
                    <a:ext uri="{FF2B5EF4-FFF2-40B4-BE49-F238E27FC236}">
                      <a16:creationId xmlns:a16="http://schemas.microsoft.com/office/drawing/2014/main" id="{4E7F90F1-C081-4632-A7D7-1DA94FAE1D29}"/>
                    </a:ext>
                  </a:extLst>
                </p14:cNvPr>
                <p14:cNvContentPartPr/>
                <p14:nvPr/>
              </p14:nvContentPartPr>
              <p14:xfrm>
                <a:off x="1632741" y="2497976"/>
                <a:ext cx="140760" cy="154440"/>
              </p14:xfrm>
            </p:contentPart>
          </mc:Choice>
          <mc:Fallback xmlns="">
            <p:pic>
              <p:nvPicPr>
                <p:cNvPr id="67" name="잉크 66">
                  <a:extLst>
                    <a:ext uri="{FF2B5EF4-FFF2-40B4-BE49-F238E27FC236}">
                      <a16:creationId xmlns:a16="http://schemas.microsoft.com/office/drawing/2014/main" id="{4E7F90F1-C081-4632-A7D7-1DA94FAE1D29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1624101" y="2488976"/>
                  <a:ext cx="158400" cy="172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2">
              <p14:nvContentPartPr>
                <p14:cNvPr id="69" name="잉크 68">
                  <a:extLst>
                    <a:ext uri="{FF2B5EF4-FFF2-40B4-BE49-F238E27FC236}">
                      <a16:creationId xmlns:a16="http://schemas.microsoft.com/office/drawing/2014/main" id="{E19BD7CC-CC51-478D-BD4E-D2EDCDC9B557}"/>
                    </a:ext>
                  </a:extLst>
                </p14:cNvPr>
                <p14:cNvContentPartPr/>
                <p14:nvPr/>
              </p14:nvContentPartPr>
              <p14:xfrm>
                <a:off x="2195781" y="2499056"/>
                <a:ext cx="380880" cy="302760"/>
              </p14:xfrm>
            </p:contentPart>
          </mc:Choice>
          <mc:Fallback xmlns="">
            <p:pic>
              <p:nvPicPr>
                <p:cNvPr id="69" name="잉크 68">
                  <a:extLst>
                    <a:ext uri="{FF2B5EF4-FFF2-40B4-BE49-F238E27FC236}">
                      <a16:creationId xmlns:a16="http://schemas.microsoft.com/office/drawing/2014/main" id="{E19BD7CC-CC51-478D-BD4E-D2EDCDC9B557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2187141" y="2490056"/>
                  <a:ext cx="398520" cy="320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71" name="잉크 70">
                  <a:extLst>
                    <a:ext uri="{FF2B5EF4-FFF2-40B4-BE49-F238E27FC236}">
                      <a16:creationId xmlns:a16="http://schemas.microsoft.com/office/drawing/2014/main" id="{53E7AC3D-7985-4DDC-8BA6-F475B79EDDD3}"/>
                    </a:ext>
                  </a:extLst>
                </p14:cNvPr>
                <p14:cNvContentPartPr/>
                <p14:nvPr/>
              </p14:nvContentPartPr>
              <p14:xfrm>
                <a:off x="2873661" y="2497976"/>
                <a:ext cx="155160" cy="360"/>
              </p14:xfrm>
            </p:contentPart>
          </mc:Choice>
          <mc:Fallback xmlns="">
            <p:pic>
              <p:nvPicPr>
                <p:cNvPr id="71" name="잉크 70">
                  <a:extLst>
                    <a:ext uri="{FF2B5EF4-FFF2-40B4-BE49-F238E27FC236}">
                      <a16:creationId xmlns:a16="http://schemas.microsoft.com/office/drawing/2014/main" id="{53E7AC3D-7985-4DDC-8BA6-F475B79EDDD3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2864661" y="2488976"/>
                  <a:ext cx="17280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72" name="잉크 71">
                  <a:extLst>
                    <a:ext uri="{FF2B5EF4-FFF2-40B4-BE49-F238E27FC236}">
                      <a16:creationId xmlns:a16="http://schemas.microsoft.com/office/drawing/2014/main" id="{79B388D0-1AB2-45B3-B7D7-EC618F2A4EEF}"/>
                    </a:ext>
                  </a:extLst>
                </p14:cNvPr>
                <p14:cNvContentPartPr/>
                <p14:nvPr/>
              </p14:nvContentPartPr>
              <p14:xfrm>
                <a:off x="2873661" y="2497976"/>
                <a:ext cx="184680" cy="371160"/>
              </p14:xfrm>
            </p:contentPart>
          </mc:Choice>
          <mc:Fallback xmlns="">
            <p:pic>
              <p:nvPicPr>
                <p:cNvPr id="72" name="잉크 71">
                  <a:extLst>
                    <a:ext uri="{FF2B5EF4-FFF2-40B4-BE49-F238E27FC236}">
                      <a16:creationId xmlns:a16="http://schemas.microsoft.com/office/drawing/2014/main" id="{79B388D0-1AB2-45B3-B7D7-EC618F2A4EEF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2864661" y="2488976"/>
                  <a:ext cx="202320" cy="388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8">
              <p14:nvContentPartPr>
                <p14:cNvPr id="76" name="잉크 75">
                  <a:extLst>
                    <a:ext uri="{FF2B5EF4-FFF2-40B4-BE49-F238E27FC236}">
                      <a16:creationId xmlns:a16="http://schemas.microsoft.com/office/drawing/2014/main" id="{48E90CE0-D5D7-4B26-8215-FF8130D72D29}"/>
                    </a:ext>
                  </a:extLst>
                </p14:cNvPr>
                <p14:cNvContentPartPr/>
                <p14:nvPr/>
              </p14:nvContentPartPr>
              <p14:xfrm>
                <a:off x="1200021" y="3014576"/>
                <a:ext cx="3876480" cy="744120"/>
              </p14:xfrm>
            </p:contentPart>
          </mc:Choice>
          <mc:Fallback xmlns="">
            <p:pic>
              <p:nvPicPr>
                <p:cNvPr id="76" name="잉크 75">
                  <a:extLst>
                    <a:ext uri="{FF2B5EF4-FFF2-40B4-BE49-F238E27FC236}">
                      <a16:creationId xmlns:a16="http://schemas.microsoft.com/office/drawing/2014/main" id="{48E90CE0-D5D7-4B26-8215-FF8130D72D29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1191021" y="3005936"/>
                  <a:ext cx="3894120" cy="76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0">
              <p14:nvContentPartPr>
                <p14:cNvPr id="77" name="잉크 76">
                  <a:extLst>
                    <a:ext uri="{FF2B5EF4-FFF2-40B4-BE49-F238E27FC236}">
                      <a16:creationId xmlns:a16="http://schemas.microsoft.com/office/drawing/2014/main" id="{E8500113-59BA-42F5-9CC7-1E8AC70503BE}"/>
                    </a:ext>
                  </a:extLst>
                </p14:cNvPr>
                <p14:cNvContentPartPr/>
                <p14:nvPr/>
              </p14:nvContentPartPr>
              <p14:xfrm>
                <a:off x="2024421" y="3061016"/>
                <a:ext cx="59400" cy="619920"/>
              </p14:xfrm>
            </p:contentPart>
          </mc:Choice>
          <mc:Fallback xmlns="">
            <p:pic>
              <p:nvPicPr>
                <p:cNvPr id="77" name="잉크 76">
                  <a:extLst>
                    <a:ext uri="{FF2B5EF4-FFF2-40B4-BE49-F238E27FC236}">
                      <a16:creationId xmlns:a16="http://schemas.microsoft.com/office/drawing/2014/main" id="{E8500113-59BA-42F5-9CC7-1E8AC70503BE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2015781" y="3052376"/>
                  <a:ext cx="77040" cy="637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2">
              <p14:nvContentPartPr>
                <p14:cNvPr id="78" name="잉크 77">
                  <a:extLst>
                    <a:ext uri="{FF2B5EF4-FFF2-40B4-BE49-F238E27FC236}">
                      <a16:creationId xmlns:a16="http://schemas.microsoft.com/office/drawing/2014/main" id="{06302AF4-4750-4CEE-BD9B-06037B813DE9}"/>
                    </a:ext>
                  </a:extLst>
                </p14:cNvPr>
                <p14:cNvContentPartPr/>
                <p14:nvPr/>
              </p14:nvContentPartPr>
              <p14:xfrm>
                <a:off x="2546781" y="3012056"/>
                <a:ext cx="34920" cy="628560"/>
              </p14:xfrm>
            </p:contentPart>
          </mc:Choice>
          <mc:Fallback xmlns="">
            <p:pic>
              <p:nvPicPr>
                <p:cNvPr id="78" name="잉크 77">
                  <a:extLst>
                    <a:ext uri="{FF2B5EF4-FFF2-40B4-BE49-F238E27FC236}">
                      <a16:creationId xmlns:a16="http://schemas.microsoft.com/office/drawing/2014/main" id="{06302AF4-4750-4CEE-BD9B-06037B813DE9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2538141" y="3003416"/>
                  <a:ext cx="52560" cy="64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4">
              <p14:nvContentPartPr>
                <p14:cNvPr id="79" name="잉크 78">
                  <a:extLst>
                    <a:ext uri="{FF2B5EF4-FFF2-40B4-BE49-F238E27FC236}">
                      <a16:creationId xmlns:a16="http://schemas.microsoft.com/office/drawing/2014/main" id="{EF6E9B58-FA72-4BD8-BD78-587679D661A5}"/>
                    </a:ext>
                  </a:extLst>
                </p14:cNvPr>
                <p14:cNvContentPartPr/>
                <p14:nvPr/>
              </p14:nvContentPartPr>
              <p14:xfrm>
                <a:off x="3192261" y="3077576"/>
                <a:ext cx="82080" cy="527040"/>
              </p14:xfrm>
            </p:contentPart>
          </mc:Choice>
          <mc:Fallback xmlns="">
            <p:pic>
              <p:nvPicPr>
                <p:cNvPr id="79" name="잉크 78">
                  <a:extLst>
                    <a:ext uri="{FF2B5EF4-FFF2-40B4-BE49-F238E27FC236}">
                      <a16:creationId xmlns:a16="http://schemas.microsoft.com/office/drawing/2014/main" id="{EF6E9B58-FA72-4BD8-BD78-587679D661A5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3183261" y="3068936"/>
                  <a:ext cx="99720" cy="544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6">
              <p14:nvContentPartPr>
                <p14:cNvPr id="114" name="잉크 113">
                  <a:extLst>
                    <a:ext uri="{FF2B5EF4-FFF2-40B4-BE49-F238E27FC236}">
                      <a16:creationId xmlns:a16="http://schemas.microsoft.com/office/drawing/2014/main" id="{C9932DAA-F9E0-4636-BD39-AA8418C92737}"/>
                    </a:ext>
                  </a:extLst>
                </p14:cNvPr>
                <p14:cNvContentPartPr/>
                <p14:nvPr/>
              </p14:nvContentPartPr>
              <p14:xfrm>
                <a:off x="2756301" y="3241016"/>
                <a:ext cx="278640" cy="180360"/>
              </p14:xfrm>
            </p:contentPart>
          </mc:Choice>
          <mc:Fallback xmlns="">
            <p:pic>
              <p:nvPicPr>
                <p:cNvPr id="114" name="잉크 113">
                  <a:extLst>
                    <a:ext uri="{FF2B5EF4-FFF2-40B4-BE49-F238E27FC236}">
                      <a16:creationId xmlns:a16="http://schemas.microsoft.com/office/drawing/2014/main" id="{C9932DAA-F9E0-4636-BD39-AA8418C92737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2747301" y="3232016"/>
                  <a:ext cx="296280" cy="19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8">
              <p14:nvContentPartPr>
                <p14:cNvPr id="115" name="잉크 114">
                  <a:extLst>
                    <a:ext uri="{FF2B5EF4-FFF2-40B4-BE49-F238E27FC236}">
                      <a16:creationId xmlns:a16="http://schemas.microsoft.com/office/drawing/2014/main" id="{9E3D1056-5A4F-420F-8DDE-80980601B2D3}"/>
                    </a:ext>
                  </a:extLst>
                </p14:cNvPr>
                <p14:cNvContentPartPr/>
                <p14:nvPr/>
              </p14:nvContentPartPr>
              <p14:xfrm>
                <a:off x="2922621" y="3257216"/>
                <a:ext cx="32760" cy="237960"/>
              </p14:xfrm>
            </p:contentPart>
          </mc:Choice>
          <mc:Fallback xmlns="">
            <p:pic>
              <p:nvPicPr>
                <p:cNvPr id="115" name="잉크 114">
                  <a:extLst>
                    <a:ext uri="{FF2B5EF4-FFF2-40B4-BE49-F238E27FC236}">
                      <a16:creationId xmlns:a16="http://schemas.microsoft.com/office/drawing/2014/main" id="{9E3D1056-5A4F-420F-8DDE-80980601B2D3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2913621" y="3248216"/>
                  <a:ext cx="50400" cy="25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0">
              <p14:nvContentPartPr>
                <p14:cNvPr id="117" name="잉크 116">
                  <a:extLst>
                    <a:ext uri="{FF2B5EF4-FFF2-40B4-BE49-F238E27FC236}">
                      <a16:creationId xmlns:a16="http://schemas.microsoft.com/office/drawing/2014/main" id="{9AD7357B-4E6A-452B-96B4-BEC80C3246FF}"/>
                    </a:ext>
                  </a:extLst>
                </p14:cNvPr>
                <p14:cNvContentPartPr/>
                <p14:nvPr/>
              </p14:nvContentPartPr>
              <p14:xfrm>
                <a:off x="3559461" y="3224816"/>
                <a:ext cx="59040" cy="288360"/>
              </p14:xfrm>
            </p:contentPart>
          </mc:Choice>
          <mc:Fallback xmlns="">
            <p:pic>
              <p:nvPicPr>
                <p:cNvPr id="117" name="잉크 116">
                  <a:extLst>
                    <a:ext uri="{FF2B5EF4-FFF2-40B4-BE49-F238E27FC236}">
                      <a16:creationId xmlns:a16="http://schemas.microsoft.com/office/drawing/2014/main" id="{9AD7357B-4E6A-452B-96B4-BEC80C3246FF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3550461" y="3215816"/>
                  <a:ext cx="76680" cy="30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2">
              <p14:nvContentPartPr>
                <p14:cNvPr id="55" name="잉크 54">
                  <a:extLst>
                    <a:ext uri="{FF2B5EF4-FFF2-40B4-BE49-F238E27FC236}">
                      <a16:creationId xmlns:a16="http://schemas.microsoft.com/office/drawing/2014/main" id="{31E1F916-F373-4CB4-B231-9B96EB84083B}"/>
                    </a:ext>
                  </a:extLst>
                </p14:cNvPr>
                <p14:cNvContentPartPr/>
                <p14:nvPr/>
              </p14:nvContentPartPr>
              <p14:xfrm>
                <a:off x="3861501" y="2261096"/>
                <a:ext cx="73440" cy="794160"/>
              </p14:xfrm>
            </p:contentPart>
          </mc:Choice>
          <mc:Fallback xmlns="">
            <p:pic>
              <p:nvPicPr>
                <p:cNvPr id="55" name="잉크 54">
                  <a:extLst>
                    <a:ext uri="{FF2B5EF4-FFF2-40B4-BE49-F238E27FC236}">
                      <a16:creationId xmlns:a16="http://schemas.microsoft.com/office/drawing/2014/main" id="{31E1F916-F373-4CB4-B231-9B96EB84083B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3852501" y="2252456"/>
                  <a:ext cx="91080" cy="811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4">
              <p14:nvContentPartPr>
                <p14:cNvPr id="56" name="잉크 55">
                  <a:extLst>
                    <a:ext uri="{FF2B5EF4-FFF2-40B4-BE49-F238E27FC236}">
                      <a16:creationId xmlns:a16="http://schemas.microsoft.com/office/drawing/2014/main" id="{4DAABC04-E701-40A8-BF87-9D15C61EB99E}"/>
                    </a:ext>
                  </a:extLst>
                </p14:cNvPr>
                <p14:cNvContentPartPr/>
                <p14:nvPr/>
              </p14:nvContentPartPr>
              <p14:xfrm>
                <a:off x="4482141" y="2285936"/>
                <a:ext cx="73080" cy="689760"/>
              </p14:xfrm>
            </p:contentPart>
          </mc:Choice>
          <mc:Fallback xmlns="">
            <p:pic>
              <p:nvPicPr>
                <p:cNvPr id="56" name="잉크 55">
                  <a:extLst>
                    <a:ext uri="{FF2B5EF4-FFF2-40B4-BE49-F238E27FC236}">
                      <a16:creationId xmlns:a16="http://schemas.microsoft.com/office/drawing/2014/main" id="{4DAABC04-E701-40A8-BF87-9D15C61EB99E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4473141" y="2276936"/>
                  <a:ext cx="90720" cy="707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6">
              <p14:nvContentPartPr>
                <p14:cNvPr id="80" name="잉크 79">
                  <a:extLst>
                    <a:ext uri="{FF2B5EF4-FFF2-40B4-BE49-F238E27FC236}">
                      <a16:creationId xmlns:a16="http://schemas.microsoft.com/office/drawing/2014/main" id="{D2BA4663-D7A2-4975-B2A6-26E547DC0ECC}"/>
                    </a:ext>
                  </a:extLst>
                </p14:cNvPr>
                <p14:cNvContentPartPr/>
                <p14:nvPr/>
              </p14:nvContentPartPr>
              <p14:xfrm>
                <a:off x="3918381" y="3085856"/>
                <a:ext cx="50040" cy="603000"/>
              </p14:xfrm>
            </p:contentPart>
          </mc:Choice>
          <mc:Fallback xmlns="">
            <p:pic>
              <p:nvPicPr>
                <p:cNvPr id="80" name="잉크 79">
                  <a:extLst>
                    <a:ext uri="{FF2B5EF4-FFF2-40B4-BE49-F238E27FC236}">
                      <a16:creationId xmlns:a16="http://schemas.microsoft.com/office/drawing/2014/main" id="{D2BA4663-D7A2-4975-B2A6-26E547DC0ECC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3909741" y="3076856"/>
                  <a:ext cx="67680" cy="62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8">
              <p14:nvContentPartPr>
                <p14:cNvPr id="81" name="잉크 80">
                  <a:extLst>
                    <a:ext uri="{FF2B5EF4-FFF2-40B4-BE49-F238E27FC236}">
                      <a16:creationId xmlns:a16="http://schemas.microsoft.com/office/drawing/2014/main" id="{A35C0258-A29E-4C9C-82B6-0E2353717D8D}"/>
                    </a:ext>
                  </a:extLst>
                </p14:cNvPr>
                <p14:cNvContentPartPr/>
                <p14:nvPr/>
              </p14:nvContentPartPr>
              <p14:xfrm>
                <a:off x="4539021" y="3020696"/>
                <a:ext cx="42480" cy="696240"/>
              </p14:xfrm>
            </p:contentPart>
          </mc:Choice>
          <mc:Fallback xmlns="">
            <p:pic>
              <p:nvPicPr>
                <p:cNvPr id="81" name="잉크 80">
                  <a:extLst>
                    <a:ext uri="{FF2B5EF4-FFF2-40B4-BE49-F238E27FC236}">
                      <a16:creationId xmlns:a16="http://schemas.microsoft.com/office/drawing/2014/main" id="{A35C0258-A29E-4C9C-82B6-0E2353717D8D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4530381" y="3011696"/>
                  <a:ext cx="60120" cy="713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0">
              <p14:nvContentPartPr>
                <p14:cNvPr id="122" name="잉크 121">
                  <a:extLst>
                    <a:ext uri="{FF2B5EF4-FFF2-40B4-BE49-F238E27FC236}">
                      <a16:creationId xmlns:a16="http://schemas.microsoft.com/office/drawing/2014/main" id="{A1A3C827-A94E-464D-AE01-3D5FDCBF6D24}"/>
                    </a:ext>
                  </a:extLst>
                </p14:cNvPr>
                <p14:cNvContentPartPr/>
                <p14:nvPr/>
              </p14:nvContentPartPr>
              <p14:xfrm>
                <a:off x="2089941" y="3722696"/>
                <a:ext cx="50760" cy="651600"/>
              </p14:xfrm>
            </p:contentPart>
          </mc:Choice>
          <mc:Fallback xmlns="">
            <p:pic>
              <p:nvPicPr>
                <p:cNvPr id="122" name="잉크 121">
                  <a:extLst>
                    <a:ext uri="{FF2B5EF4-FFF2-40B4-BE49-F238E27FC236}">
                      <a16:creationId xmlns:a16="http://schemas.microsoft.com/office/drawing/2014/main" id="{A1A3C827-A94E-464D-AE01-3D5FDCBF6D24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2080941" y="3713696"/>
                  <a:ext cx="68400" cy="66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2">
              <p14:nvContentPartPr>
                <p14:cNvPr id="124" name="잉크 123">
                  <a:extLst>
                    <a:ext uri="{FF2B5EF4-FFF2-40B4-BE49-F238E27FC236}">
                      <a16:creationId xmlns:a16="http://schemas.microsoft.com/office/drawing/2014/main" id="{60490E81-1EB1-4853-892F-82B183DF620A}"/>
                    </a:ext>
                  </a:extLst>
                </p14:cNvPr>
                <p14:cNvContentPartPr/>
                <p14:nvPr/>
              </p14:nvContentPartPr>
              <p14:xfrm>
                <a:off x="2546781" y="3689936"/>
                <a:ext cx="74520" cy="676800"/>
              </p14:xfrm>
            </p:contentPart>
          </mc:Choice>
          <mc:Fallback xmlns="">
            <p:pic>
              <p:nvPicPr>
                <p:cNvPr id="124" name="잉크 123">
                  <a:extLst>
                    <a:ext uri="{FF2B5EF4-FFF2-40B4-BE49-F238E27FC236}">
                      <a16:creationId xmlns:a16="http://schemas.microsoft.com/office/drawing/2014/main" id="{60490E81-1EB1-4853-892F-82B183DF620A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2538141" y="3680936"/>
                  <a:ext cx="92160" cy="69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4">
              <p14:nvContentPartPr>
                <p14:cNvPr id="125" name="잉크 124">
                  <a:extLst>
                    <a:ext uri="{FF2B5EF4-FFF2-40B4-BE49-F238E27FC236}">
                      <a16:creationId xmlns:a16="http://schemas.microsoft.com/office/drawing/2014/main" id="{DA6B0A0C-B26F-497F-8DA5-77BC7F52824D}"/>
                    </a:ext>
                  </a:extLst>
                </p14:cNvPr>
                <p14:cNvContentPartPr/>
                <p14:nvPr/>
              </p14:nvContentPartPr>
              <p14:xfrm>
                <a:off x="3265341" y="3730616"/>
                <a:ext cx="73800" cy="916560"/>
              </p14:xfrm>
            </p:contentPart>
          </mc:Choice>
          <mc:Fallback xmlns="">
            <p:pic>
              <p:nvPicPr>
                <p:cNvPr id="125" name="잉크 124">
                  <a:extLst>
                    <a:ext uri="{FF2B5EF4-FFF2-40B4-BE49-F238E27FC236}">
                      <a16:creationId xmlns:a16="http://schemas.microsoft.com/office/drawing/2014/main" id="{DA6B0A0C-B26F-497F-8DA5-77BC7F52824D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3256701" y="3721976"/>
                  <a:ext cx="91440" cy="934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6">
              <p14:nvContentPartPr>
                <p14:cNvPr id="126" name="잉크 125">
                  <a:extLst>
                    <a:ext uri="{FF2B5EF4-FFF2-40B4-BE49-F238E27FC236}">
                      <a16:creationId xmlns:a16="http://schemas.microsoft.com/office/drawing/2014/main" id="{D73BB982-05F5-4EE5-AE4C-D8AA2D90213F}"/>
                    </a:ext>
                  </a:extLst>
                </p14:cNvPr>
                <p14:cNvContentPartPr/>
                <p14:nvPr/>
              </p14:nvContentPartPr>
              <p14:xfrm>
                <a:off x="3967341" y="3763376"/>
                <a:ext cx="140040" cy="753120"/>
              </p14:xfrm>
            </p:contentPart>
          </mc:Choice>
          <mc:Fallback xmlns="">
            <p:pic>
              <p:nvPicPr>
                <p:cNvPr id="126" name="잉크 125">
                  <a:extLst>
                    <a:ext uri="{FF2B5EF4-FFF2-40B4-BE49-F238E27FC236}">
                      <a16:creationId xmlns:a16="http://schemas.microsoft.com/office/drawing/2014/main" id="{D73BB982-05F5-4EE5-AE4C-D8AA2D90213F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3958701" y="3754736"/>
                  <a:ext cx="157680" cy="77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8">
              <p14:nvContentPartPr>
                <p14:cNvPr id="127" name="잉크 126">
                  <a:extLst>
                    <a:ext uri="{FF2B5EF4-FFF2-40B4-BE49-F238E27FC236}">
                      <a16:creationId xmlns:a16="http://schemas.microsoft.com/office/drawing/2014/main" id="{AAE1181D-7BB7-4BB5-B612-CB764F332DE8}"/>
                    </a:ext>
                  </a:extLst>
                </p14:cNvPr>
                <p14:cNvContentPartPr/>
                <p14:nvPr/>
              </p14:nvContentPartPr>
              <p14:xfrm>
                <a:off x="4563861" y="3804416"/>
                <a:ext cx="81000" cy="592200"/>
              </p14:xfrm>
            </p:contentPart>
          </mc:Choice>
          <mc:Fallback xmlns="">
            <p:pic>
              <p:nvPicPr>
                <p:cNvPr id="127" name="잉크 126">
                  <a:extLst>
                    <a:ext uri="{FF2B5EF4-FFF2-40B4-BE49-F238E27FC236}">
                      <a16:creationId xmlns:a16="http://schemas.microsoft.com/office/drawing/2014/main" id="{AAE1181D-7BB7-4BB5-B612-CB764F332DE8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4554861" y="3795416"/>
                  <a:ext cx="98640" cy="60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0">
              <p14:nvContentPartPr>
                <p14:cNvPr id="129" name="잉크 128">
                  <a:extLst>
                    <a:ext uri="{FF2B5EF4-FFF2-40B4-BE49-F238E27FC236}">
                      <a16:creationId xmlns:a16="http://schemas.microsoft.com/office/drawing/2014/main" id="{81AD40C5-9E09-4226-A291-E8F54F592230}"/>
                    </a:ext>
                  </a:extLst>
                </p14:cNvPr>
                <p14:cNvContentPartPr/>
                <p14:nvPr/>
              </p14:nvContentPartPr>
              <p14:xfrm>
                <a:off x="2579541" y="4163336"/>
                <a:ext cx="16920" cy="203760"/>
              </p14:xfrm>
            </p:contentPart>
          </mc:Choice>
          <mc:Fallback xmlns="">
            <p:pic>
              <p:nvPicPr>
                <p:cNvPr id="129" name="잉크 128">
                  <a:extLst>
                    <a:ext uri="{FF2B5EF4-FFF2-40B4-BE49-F238E27FC236}">
                      <a16:creationId xmlns:a16="http://schemas.microsoft.com/office/drawing/2014/main" id="{81AD40C5-9E09-4226-A291-E8F54F592230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2570901" y="4154696"/>
                  <a:ext cx="34560" cy="221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2">
              <p14:nvContentPartPr>
                <p14:cNvPr id="130" name="잉크 129">
                  <a:extLst>
                    <a:ext uri="{FF2B5EF4-FFF2-40B4-BE49-F238E27FC236}">
                      <a16:creationId xmlns:a16="http://schemas.microsoft.com/office/drawing/2014/main" id="{111DE063-364A-4902-90DB-168EB9CB8745}"/>
                    </a:ext>
                  </a:extLst>
                </p14:cNvPr>
                <p14:cNvContentPartPr/>
                <p14:nvPr/>
              </p14:nvContentPartPr>
              <p14:xfrm>
                <a:off x="2089941" y="4318496"/>
                <a:ext cx="18720" cy="220320"/>
              </p14:xfrm>
            </p:contentPart>
          </mc:Choice>
          <mc:Fallback xmlns="">
            <p:pic>
              <p:nvPicPr>
                <p:cNvPr id="130" name="잉크 129">
                  <a:extLst>
                    <a:ext uri="{FF2B5EF4-FFF2-40B4-BE49-F238E27FC236}">
                      <a16:creationId xmlns:a16="http://schemas.microsoft.com/office/drawing/2014/main" id="{111DE063-364A-4902-90DB-168EB9CB8745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2080941" y="4309856"/>
                  <a:ext cx="36360" cy="237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4">
              <p14:nvContentPartPr>
                <p14:cNvPr id="132" name="잉크 131">
                  <a:extLst>
                    <a:ext uri="{FF2B5EF4-FFF2-40B4-BE49-F238E27FC236}">
                      <a16:creationId xmlns:a16="http://schemas.microsoft.com/office/drawing/2014/main" id="{8D008352-E91D-486D-8285-76B3DDE33C9C}"/>
                    </a:ext>
                  </a:extLst>
                </p14:cNvPr>
                <p14:cNvContentPartPr/>
                <p14:nvPr/>
              </p14:nvContentPartPr>
              <p14:xfrm>
                <a:off x="2612301" y="4326776"/>
                <a:ext cx="17280" cy="142200"/>
              </p14:xfrm>
            </p:contentPart>
          </mc:Choice>
          <mc:Fallback xmlns="">
            <p:pic>
              <p:nvPicPr>
                <p:cNvPr id="132" name="잉크 131">
                  <a:extLst>
                    <a:ext uri="{FF2B5EF4-FFF2-40B4-BE49-F238E27FC236}">
                      <a16:creationId xmlns:a16="http://schemas.microsoft.com/office/drawing/2014/main" id="{8D008352-E91D-486D-8285-76B3DDE33C9C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2603661" y="4317776"/>
                  <a:ext cx="34920" cy="15984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15373400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3A66F9-62A6-C764-4202-617CF29BD8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40F27F3-339B-50C8-EEE7-D4FAB4E564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2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46D86D1-1E15-2CF2-0F38-9ACF174EDE9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0D3E9F2-C86D-1C2D-BEB1-7C9B466FCA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7916" y="1194907"/>
            <a:ext cx="7116168" cy="752580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651756ED-3484-C9DD-FE00-246B926CBA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0311" y="1947487"/>
            <a:ext cx="7011378" cy="790685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E6D88B77-C0D2-1A9E-4730-C2FCF96139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85521" y="2738172"/>
            <a:ext cx="7220958" cy="781159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5819F76C-D81A-6C4C-9C3E-6C97217BB7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71258" y="3632649"/>
            <a:ext cx="7049484" cy="752580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1ADD685D-A9E9-3916-F205-80ED3616D08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52205" y="4498547"/>
            <a:ext cx="7087589" cy="771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70215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51D7AE4D-839C-96CB-786E-8CE0BAC4CD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1732" y="728285"/>
            <a:ext cx="7068536" cy="5401429"/>
          </a:xfrm>
          <a:prstGeom prst="rect">
            <a:avLst/>
          </a:prstGeom>
        </p:spPr>
      </p:pic>
      <p:grpSp>
        <p:nvGrpSpPr>
          <p:cNvPr id="4" name="그룹 3">
            <a:extLst>
              <a:ext uri="{FF2B5EF4-FFF2-40B4-BE49-F238E27FC236}">
                <a16:creationId xmlns:a16="http://schemas.microsoft.com/office/drawing/2014/main" id="{12D2E8D0-5ED9-493A-A670-AF6F03C3C045}"/>
              </a:ext>
            </a:extLst>
          </p:cNvPr>
          <p:cNvGrpSpPr/>
          <p:nvPr/>
        </p:nvGrpSpPr>
        <p:grpSpPr>
          <a:xfrm>
            <a:off x="4431741" y="3909536"/>
            <a:ext cx="2186640" cy="327960"/>
            <a:chOff x="4431741" y="3909536"/>
            <a:chExt cx="2186640" cy="3279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">
              <p14:nvContentPartPr>
                <p14:cNvPr id="2" name="잉크 1">
                  <a:extLst>
                    <a:ext uri="{FF2B5EF4-FFF2-40B4-BE49-F238E27FC236}">
                      <a16:creationId xmlns:a16="http://schemas.microsoft.com/office/drawing/2014/main" id="{81F3694E-342F-415D-AA0E-4030449B0DEB}"/>
                    </a:ext>
                  </a:extLst>
                </p14:cNvPr>
                <p14:cNvContentPartPr/>
                <p14:nvPr/>
              </p14:nvContentPartPr>
              <p14:xfrm>
                <a:off x="4431741" y="3909536"/>
                <a:ext cx="776880" cy="327960"/>
              </p14:xfrm>
            </p:contentPart>
          </mc:Choice>
          <mc:Fallback xmlns="">
            <p:pic>
              <p:nvPicPr>
                <p:cNvPr id="2" name="잉크 1">
                  <a:extLst>
                    <a:ext uri="{FF2B5EF4-FFF2-40B4-BE49-F238E27FC236}">
                      <a16:creationId xmlns:a16="http://schemas.microsoft.com/office/drawing/2014/main" id="{81F3694E-342F-415D-AA0E-4030449B0DEB}"/>
                    </a:ext>
                  </a:extLst>
                </p:cNvPr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4422741" y="3900896"/>
                  <a:ext cx="794520" cy="34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3" name="잉크 2">
                  <a:extLst>
                    <a:ext uri="{FF2B5EF4-FFF2-40B4-BE49-F238E27FC236}">
                      <a16:creationId xmlns:a16="http://schemas.microsoft.com/office/drawing/2014/main" id="{63848EF2-C7CF-45F0-99C9-431213CAB632}"/>
                    </a:ext>
                  </a:extLst>
                </p14:cNvPr>
                <p14:cNvContentPartPr/>
                <p14:nvPr/>
              </p14:nvContentPartPr>
              <p14:xfrm>
                <a:off x="4938981" y="4162616"/>
                <a:ext cx="1679400" cy="66240"/>
              </p14:xfrm>
            </p:contentPart>
          </mc:Choice>
          <mc:Fallback xmlns="">
            <p:pic>
              <p:nvPicPr>
                <p:cNvPr id="3" name="잉크 2">
                  <a:extLst>
                    <a:ext uri="{FF2B5EF4-FFF2-40B4-BE49-F238E27FC236}">
                      <a16:creationId xmlns:a16="http://schemas.microsoft.com/office/drawing/2014/main" id="{63848EF2-C7CF-45F0-99C9-431213CAB632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930341" y="4153976"/>
                  <a:ext cx="1697040" cy="838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11F4F8E3-1867-4F98-AE53-F3DEC94E1A7F}"/>
              </a:ext>
            </a:extLst>
          </p:cNvPr>
          <p:cNvGrpSpPr/>
          <p:nvPr/>
        </p:nvGrpSpPr>
        <p:grpSpPr>
          <a:xfrm>
            <a:off x="3802821" y="4937696"/>
            <a:ext cx="2196720" cy="410040"/>
            <a:chOff x="3802821" y="4937696"/>
            <a:chExt cx="2196720" cy="4100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9" name="잉크 8">
                  <a:extLst>
                    <a:ext uri="{FF2B5EF4-FFF2-40B4-BE49-F238E27FC236}">
                      <a16:creationId xmlns:a16="http://schemas.microsoft.com/office/drawing/2014/main" id="{BFED2EFC-AA4C-41AA-8EB0-AF5482B609C7}"/>
                    </a:ext>
                  </a:extLst>
                </p14:cNvPr>
                <p14:cNvContentPartPr/>
                <p14:nvPr/>
              </p14:nvContentPartPr>
              <p14:xfrm>
                <a:off x="3802821" y="4937696"/>
                <a:ext cx="508320" cy="410040"/>
              </p14:xfrm>
            </p:contentPart>
          </mc:Choice>
          <mc:Fallback xmlns="">
            <p:pic>
              <p:nvPicPr>
                <p:cNvPr id="9" name="잉크 8">
                  <a:extLst>
                    <a:ext uri="{FF2B5EF4-FFF2-40B4-BE49-F238E27FC236}">
                      <a16:creationId xmlns:a16="http://schemas.microsoft.com/office/drawing/2014/main" id="{BFED2EFC-AA4C-41AA-8EB0-AF5482B609C7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3794181" y="4928696"/>
                  <a:ext cx="525960" cy="427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10" name="잉크 9">
                  <a:extLst>
                    <a:ext uri="{FF2B5EF4-FFF2-40B4-BE49-F238E27FC236}">
                      <a16:creationId xmlns:a16="http://schemas.microsoft.com/office/drawing/2014/main" id="{EB46F4A4-1A39-42B9-815F-9E3BA6CB9655}"/>
                    </a:ext>
                  </a:extLst>
                </p14:cNvPr>
                <p14:cNvContentPartPr/>
                <p14:nvPr/>
              </p14:nvContentPartPr>
              <p14:xfrm>
                <a:off x="4024941" y="5233976"/>
                <a:ext cx="1974600" cy="64800"/>
              </p14:xfrm>
            </p:contentPart>
          </mc:Choice>
          <mc:Fallback xmlns="">
            <p:pic>
              <p:nvPicPr>
                <p:cNvPr id="10" name="잉크 9">
                  <a:extLst>
                    <a:ext uri="{FF2B5EF4-FFF2-40B4-BE49-F238E27FC236}">
                      <a16:creationId xmlns:a16="http://schemas.microsoft.com/office/drawing/2014/main" id="{EB46F4A4-1A39-42B9-815F-9E3BA6CB9655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4015941" y="5224976"/>
                  <a:ext cx="1992240" cy="8244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4108796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2CD180-169B-EA5C-E2B3-48F37E5831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CBBE54C-E1FE-9680-1928-C2E51DF66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147F533-286E-7E19-490E-78671FE4C5A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1434138-E2C4-0252-50CC-3C9ED6D040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8257" y="2285840"/>
            <a:ext cx="8135485" cy="2286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67325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7E106D-E891-9EB4-2ED4-FBB16CDA1B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98DD555-41DA-239A-BD41-94129F95D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9591946-CDCE-32E6-765A-BFE3533A4CD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DF4B97C-0DB1-9754-C0AC-61E86C5911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8363" y="1738076"/>
            <a:ext cx="7335274" cy="338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1574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7C2E26-0EF1-E5C2-2289-7F7FB60B02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3FC67A0-3AA9-20FE-E036-C9D5189E4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E664850-2807-E071-CA39-FD55D1749FF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EB2CC1C-EA06-8FA2-61BF-300DC1E90C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0258" y="1209365"/>
            <a:ext cx="7411484" cy="4439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88885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39D59C-9C0C-B7F4-E975-0C77076341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BBA75F8-0625-FA0F-4118-6D5DF781FF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D63ECB7-4A67-A88D-2432-AF1968C2DF0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52B4A4A-1E0F-503B-265C-D99E6130BE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6389" y="1823813"/>
            <a:ext cx="7859222" cy="3210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62157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C12E19-8932-D06F-75E3-A5918F6DD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2B0E7C7-388E-273D-C22A-57916E761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38F9D9C-9728-D06B-C0EC-211520DECB0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0207374-0977-4182-3F75-4735469E85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2099" y="1437997"/>
            <a:ext cx="7887801" cy="3982006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" name="잉크 1">
                <a:extLst>
                  <a:ext uri="{FF2B5EF4-FFF2-40B4-BE49-F238E27FC236}">
                    <a16:creationId xmlns:a16="http://schemas.microsoft.com/office/drawing/2014/main" id="{CB334F69-ED01-4FE9-8A14-3BF8CE8E7F4B}"/>
                  </a:ext>
                </a:extLst>
              </p14:cNvPr>
              <p14:cNvContentPartPr/>
              <p14:nvPr/>
            </p14:nvContentPartPr>
            <p14:xfrm>
              <a:off x="2187861" y="3273776"/>
              <a:ext cx="308520" cy="525960"/>
            </p14:xfrm>
          </p:contentPart>
        </mc:Choice>
        <mc:Fallback xmlns="">
          <p:pic>
            <p:nvPicPr>
              <p:cNvPr id="2" name="잉크 1">
                <a:extLst>
                  <a:ext uri="{FF2B5EF4-FFF2-40B4-BE49-F238E27FC236}">
                    <a16:creationId xmlns:a16="http://schemas.microsoft.com/office/drawing/2014/main" id="{CB334F69-ED01-4FE9-8A14-3BF8CE8E7F4B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178861" y="3264776"/>
                <a:ext cx="326160" cy="5436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93065221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FA9A95-E21B-7F15-2926-AE09EC6FA3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D121336-08EF-9BC3-1844-064EA2EFD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A664768-9642-3874-DBA7-F11F72A38BEA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128E0A1-B296-5C17-617B-7AFCD5890E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257" y="1871445"/>
            <a:ext cx="7773485" cy="311511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" name="잉크 1">
                <a:extLst>
                  <a:ext uri="{FF2B5EF4-FFF2-40B4-BE49-F238E27FC236}">
                    <a16:creationId xmlns:a16="http://schemas.microsoft.com/office/drawing/2014/main" id="{12EBE0F9-587C-43E6-ADA0-A52F347DD11E}"/>
                  </a:ext>
                </a:extLst>
              </p14:cNvPr>
              <p14:cNvContentPartPr/>
              <p14:nvPr/>
            </p14:nvContentPartPr>
            <p14:xfrm>
              <a:off x="2465421" y="2602376"/>
              <a:ext cx="6838560" cy="296280"/>
            </p14:xfrm>
          </p:contentPart>
        </mc:Choice>
        <mc:Fallback xmlns="">
          <p:pic>
            <p:nvPicPr>
              <p:cNvPr id="2" name="잉크 1">
                <a:extLst>
                  <a:ext uri="{FF2B5EF4-FFF2-40B4-BE49-F238E27FC236}">
                    <a16:creationId xmlns:a16="http://schemas.microsoft.com/office/drawing/2014/main" id="{12EBE0F9-587C-43E6-ADA0-A52F347DD11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456781" y="2593736"/>
                <a:ext cx="6856200" cy="313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5" name="잉크 4">
                <a:extLst>
                  <a:ext uri="{FF2B5EF4-FFF2-40B4-BE49-F238E27FC236}">
                    <a16:creationId xmlns:a16="http://schemas.microsoft.com/office/drawing/2014/main" id="{7327108D-9F9C-437D-98D4-912F0DD750CC}"/>
                  </a:ext>
                </a:extLst>
              </p14:cNvPr>
              <p14:cNvContentPartPr/>
              <p14:nvPr/>
            </p14:nvContentPartPr>
            <p14:xfrm>
              <a:off x="2489901" y="3284576"/>
              <a:ext cx="7158960" cy="127800"/>
            </p14:xfrm>
          </p:contentPart>
        </mc:Choice>
        <mc:Fallback xmlns="">
          <p:pic>
            <p:nvPicPr>
              <p:cNvPr id="5" name="잉크 4">
                <a:extLst>
                  <a:ext uri="{FF2B5EF4-FFF2-40B4-BE49-F238E27FC236}">
                    <a16:creationId xmlns:a16="http://schemas.microsoft.com/office/drawing/2014/main" id="{7327108D-9F9C-437D-98D4-912F0DD750CC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480901" y="3275936"/>
                <a:ext cx="7176600" cy="1454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89834148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8C5D52-61D6-46D2-F678-362AB24ADE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8017264-0908-DB10-7B0B-3D42EFE5A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E6777B4-36AC-C0D7-5828-AC1E1931A3DF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19C3C55-EFBE-D18E-DE28-9CC0973129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1205" y="1361786"/>
            <a:ext cx="7449590" cy="4134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476739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CB1F8E-DD0C-C08A-F24F-B9591263FA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B1BCC3D-7627-3FE4-1DD9-7500C4486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5945B15-6F5D-8ABB-BF8A-BE0AE19DE16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9432C6A-DBA8-D3A5-37FF-B8FA968C81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7760" y="1857155"/>
            <a:ext cx="4696480" cy="3143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2690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39C7DF-D588-4350-B9F3-96585ABD86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7D75832-A241-23F2-73B7-AA915DF27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23A2FFA-08F7-4AF2-EE11-D923569BCFF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C26330E3-B429-3D13-E92C-5320D6BD86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0443" y="1609471"/>
            <a:ext cx="6011114" cy="3639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37527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A79C6B-40EE-8938-4760-B8673B9F26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D0263A7-B90A-7F08-4845-14C6B60580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3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D3242CB-DD59-8EF5-99B9-A47D1731D7E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299D707-A751-CAEA-2CC0-1A63E5B6C2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5677" y="1185549"/>
            <a:ext cx="9640645" cy="448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4018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AD1FC5-5792-9BC7-06A4-552AA93BAD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688D1FF6-7896-3552-9501-909976629B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6942" y="466311"/>
            <a:ext cx="7278116" cy="5925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86470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B470D3-D7B2-DA15-65B7-264186BEE4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6D58124-0BC2-D35E-DD2F-CB60ADFE5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4873C6B-B420-C277-90A3-ED38AE8CE62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A7E0D52-2D18-BCBA-7806-E28F6F6AF7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9599" y="1204602"/>
            <a:ext cx="8792802" cy="4448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22124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34C247-6288-6813-3348-18806E8481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89246C4-5C2D-FF5E-63D6-A88DEB977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39DDC75-EA4F-7C4D-D537-B9A7A61AE08A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D5F2569-1C0A-73B5-FCA6-ACF06CA375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7598" y="1280812"/>
            <a:ext cx="9516803" cy="4296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8731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92B6C1-49CB-9B41-2D1A-14BD501BD9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389DF85-DA40-475F-3EFC-9FF31519A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5D81443-C440-7EE0-B09A-85FD7B95431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020BF34-6233-5244-0D64-544200BE3AD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50000"/>
          <a:stretch/>
        </p:blipFill>
        <p:spPr>
          <a:xfrm>
            <a:off x="1356651" y="828312"/>
            <a:ext cx="4739349" cy="520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34051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41CC7D-FA4C-3C8D-2409-3E3D09D309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71BC508-6916-99E0-3FC7-15E87A3C6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5FF6F9B-1605-8FE4-248F-7555F9D302D9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BCD6107-4C30-DEA1-6C9D-57423AFDD2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7598" y="1280812"/>
            <a:ext cx="9516803" cy="4296375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5B1BC77F-B4B6-21E6-30D8-9B376C7901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6651" y="828312"/>
            <a:ext cx="9478698" cy="5201376"/>
          </a:xfrm>
          <a:prstGeom prst="rect">
            <a:avLst/>
          </a:prstGeom>
        </p:spPr>
      </p:pic>
      <p:grpSp>
        <p:nvGrpSpPr>
          <p:cNvPr id="18" name="그룹 17">
            <a:extLst>
              <a:ext uri="{FF2B5EF4-FFF2-40B4-BE49-F238E27FC236}">
                <a16:creationId xmlns:a16="http://schemas.microsoft.com/office/drawing/2014/main" id="{2EA817A8-806B-45E0-B9F0-08854B76915C}"/>
              </a:ext>
            </a:extLst>
          </p:cNvPr>
          <p:cNvGrpSpPr/>
          <p:nvPr/>
        </p:nvGrpSpPr>
        <p:grpSpPr>
          <a:xfrm>
            <a:off x="195024" y="3364872"/>
            <a:ext cx="123840" cy="313920"/>
            <a:chOff x="195024" y="3364872"/>
            <a:chExt cx="123840" cy="3139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5" name="잉크 4">
                  <a:extLst>
                    <a:ext uri="{FF2B5EF4-FFF2-40B4-BE49-F238E27FC236}">
                      <a16:creationId xmlns:a16="http://schemas.microsoft.com/office/drawing/2014/main" id="{263D2A42-6B6B-4DC4-8DE7-71017FA29CF8}"/>
                    </a:ext>
                  </a:extLst>
                </p14:cNvPr>
                <p14:cNvContentPartPr/>
                <p14:nvPr/>
              </p14:nvContentPartPr>
              <p14:xfrm>
                <a:off x="195024" y="3376752"/>
                <a:ext cx="50760" cy="302040"/>
              </p14:xfrm>
            </p:contentPart>
          </mc:Choice>
          <mc:Fallback xmlns="">
            <p:pic>
              <p:nvPicPr>
                <p:cNvPr id="5" name="잉크 4">
                  <a:extLst>
                    <a:ext uri="{FF2B5EF4-FFF2-40B4-BE49-F238E27FC236}">
                      <a16:creationId xmlns:a16="http://schemas.microsoft.com/office/drawing/2014/main" id="{263D2A42-6B6B-4DC4-8DE7-71017FA29CF8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86024" y="3367752"/>
                  <a:ext cx="68400" cy="31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8" name="잉크 7">
                  <a:extLst>
                    <a:ext uri="{FF2B5EF4-FFF2-40B4-BE49-F238E27FC236}">
                      <a16:creationId xmlns:a16="http://schemas.microsoft.com/office/drawing/2014/main" id="{F6321FE7-CC71-4276-89B0-25BC5E907020}"/>
                    </a:ext>
                  </a:extLst>
                </p14:cNvPr>
                <p14:cNvContentPartPr/>
                <p14:nvPr/>
              </p14:nvContentPartPr>
              <p14:xfrm>
                <a:off x="219144" y="3364872"/>
                <a:ext cx="99720" cy="220320"/>
              </p14:xfrm>
            </p:contentPart>
          </mc:Choice>
          <mc:Fallback xmlns="">
            <p:pic>
              <p:nvPicPr>
                <p:cNvPr id="8" name="잉크 7">
                  <a:extLst>
                    <a:ext uri="{FF2B5EF4-FFF2-40B4-BE49-F238E27FC236}">
                      <a16:creationId xmlns:a16="http://schemas.microsoft.com/office/drawing/2014/main" id="{F6321FE7-CC71-4276-89B0-25BC5E907020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210144" y="3356232"/>
                  <a:ext cx="117360" cy="237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9" name="잉크 8">
                  <a:extLst>
                    <a:ext uri="{FF2B5EF4-FFF2-40B4-BE49-F238E27FC236}">
                      <a16:creationId xmlns:a16="http://schemas.microsoft.com/office/drawing/2014/main" id="{F7352421-F741-42B2-9EAE-539B97DD1DD5}"/>
                    </a:ext>
                  </a:extLst>
                </p14:cNvPr>
                <p14:cNvContentPartPr/>
                <p14:nvPr/>
              </p14:nvContentPartPr>
              <p14:xfrm>
                <a:off x="255864" y="3579432"/>
                <a:ext cx="57600" cy="5040"/>
              </p14:xfrm>
            </p:contentPart>
          </mc:Choice>
          <mc:Fallback xmlns="">
            <p:pic>
              <p:nvPicPr>
                <p:cNvPr id="9" name="잉크 8">
                  <a:extLst>
                    <a:ext uri="{FF2B5EF4-FFF2-40B4-BE49-F238E27FC236}">
                      <a16:creationId xmlns:a16="http://schemas.microsoft.com/office/drawing/2014/main" id="{F7352421-F741-42B2-9EAE-539B97DD1DD5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247224" y="3570432"/>
                  <a:ext cx="75240" cy="226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24C2A990-E5A6-4E2D-AEDD-4A1223315806}"/>
              </a:ext>
            </a:extLst>
          </p:cNvPr>
          <p:cNvGrpSpPr/>
          <p:nvPr/>
        </p:nvGrpSpPr>
        <p:grpSpPr>
          <a:xfrm>
            <a:off x="450624" y="3194232"/>
            <a:ext cx="363600" cy="621360"/>
            <a:chOff x="450624" y="3194232"/>
            <a:chExt cx="363600" cy="6213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10" name="잉크 9">
                  <a:extLst>
                    <a:ext uri="{FF2B5EF4-FFF2-40B4-BE49-F238E27FC236}">
                      <a16:creationId xmlns:a16="http://schemas.microsoft.com/office/drawing/2014/main" id="{9D7BE7C7-C9C2-482F-AFE9-32EDDF0458FF}"/>
                    </a:ext>
                  </a:extLst>
                </p14:cNvPr>
                <p14:cNvContentPartPr/>
                <p14:nvPr/>
              </p14:nvContentPartPr>
              <p14:xfrm>
                <a:off x="450624" y="3218352"/>
                <a:ext cx="26280" cy="363960"/>
              </p14:xfrm>
            </p:contentPart>
          </mc:Choice>
          <mc:Fallback xmlns="">
            <p:pic>
              <p:nvPicPr>
                <p:cNvPr id="10" name="잉크 9">
                  <a:extLst>
                    <a:ext uri="{FF2B5EF4-FFF2-40B4-BE49-F238E27FC236}">
                      <a16:creationId xmlns:a16="http://schemas.microsoft.com/office/drawing/2014/main" id="{9D7BE7C7-C9C2-482F-AFE9-32EDDF0458FF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441984" y="3209352"/>
                  <a:ext cx="43920" cy="381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11" name="잉크 10">
                  <a:extLst>
                    <a:ext uri="{FF2B5EF4-FFF2-40B4-BE49-F238E27FC236}">
                      <a16:creationId xmlns:a16="http://schemas.microsoft.com/office/drawing/2014/main" id="{7BB66D25-F132-4642-BE6E-F5B3D81A06AE}"/>
                    </a:ext>
                  </a:extLst>
                </p14:cNvPr>
                <p14:cNvContentPartPr/>
                <p14:nvPr/>
              </p14:nvContentPartPr>
              <p14:xfrm>
                <a:off x="548544" y="3403752"/>
                <a:ext cx="21960" cy="10440"/>
              </p14:xfrm>
            </p:contentPart>
          </mc:Choice>
          <mc:Fallback xmlns="">
            <p:pic>
              <p:nvPicPr>
                <p:cNvPr id="11" name="잉크 10">
                  <a:extLst>
                    <a:ext uri="{FF2B5EF4-FFF2-40B4-BE49-F238E27FC236}">
                      <a16:creationId xmlns:a16="http://schemas.microsoft.com/office/drawing/2014/main" id="{7BB66D25-F132-4642-BE6E-F5B3D81A06AE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539904" y="3394752"/>
                  <a:ext cx="39600" cy="28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12" name="잉크 11">
                  <a:extLst>
                    <a:ext uri="{FF2B5EF4-FFF2-40B4-BE49-F238E27FC236}">
                      <a16:creationId xmlns:a16="http://schemas.microsoft.com/office/drawing/2014/main" id="{C3F13753-3806-4B2B-8A3E-37FF8E8C0B71}"/>
                    </a:ext>
                  </a:extLst>
                </p14:cNvPr>
                <p14:cNvContentPartPr/>
                <p14:nvPr/>
              </p14:nvContentPartPr>
              <p14:xfrm>
                <a:off x="657984" y="3230592"/>
                <a:ext cx="83520" cy="212040"/>
              </p14:xfrm>
            </p:contentPart>
          </mc:Choice>
          <mc:Fallback xmlns="">
            <p:pic>
              <p:nvPicPr>
                <p:cNvPr id="12" name="잉크 11">
                  <a:extLst>
                    <a:ext uri="{FF2B5EF4-FFF2-40B4-BE49-F238E27FC236}">
                      <a16:creationId xmlns:a16="http://schemas.microsoft.com/office/drawing/2014/main" id="{C3F13753-3806-4B2B-8A3E-37FF8E8C0B71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649344" y="3221592"/>
                  <a:ext cx="101160" cy="22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">
              <p14:nvContentPartPr>
                <p14:cNvPr id="13" name="잉크 12">
                  <a:extLst>
                    <a:ext uri="{FF2B5EF4-FFF2-40B4-BE49-F238E27FC236}">
                      <a16:creationId xmlns:a16="http://schemas.microsoft.com/office/drawing/2014/main" id="{8A4A6403-01B1-4CA9-AF46-444AA9CF17EF}"/>
                    </a:ext>
                  </a:extLst>
                </p14:cNvPr>
                <p14:cNvContentPartPr/>
                <p14:nvPr/>
              </p14:nvContentPartPr>
              <p14:xfrm>
                <a:off x="792264" y="3194232"/>
                <a:ext cx="360" cy="346680"/>
              </p14:xfrm>
            </p:contentPart>
          </mc:Choice>
          <mc:Fallback xmlns="">
            <p:pic>
              <p:nvPicPr>
                <p:cNvPr id="13" name="잉크 12">
                  <a:extLst>
                    <a:ext uri="{FF2B5EF4-FFF2-40B4-BE49-F238E27FC236}">
                      <a16:creationId xmlns:a16="http://schemas.microsoft.com/office/drawing/2014/main" id="{8A4A6403-01B1-4CA9-AF46-444AA9CF17EF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783264" y="3185232"/>
                  <a:ext cx="18000" cy="364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">
              <p14:nvContentPartPr>
                <p14:cNvPr id="14" name="잉크 13">
                  <a:extLst>
                    <a:ext uri="{FF2B5EF4-FFF2-40B4-BE49-F238E27FC236}">
                      <a16:creationId xmlns:a16="http://schemas.microsoft.com/office/drawing/2014/main" id="{04B5ED92-CE27-4245-BB18-6AFD3D6AFC5E}"/>
                    </a:ext>
                  </a:extLst>
                </p14:cNvPr>
                <p14:cNvContentPartPr/>
                <p14:nvPr/>
              </p14:nvContentPartPr>
              <p14:xfrm>
                <a:off x="792264" y="3418152"/>
                <a:ext cx="21960" cy="7920"/>
              </p14:xfrm>
            </p:contentPart>
          </mc:Choice>
          <mc:Fallback xmlns="">
            <p:pic>
              <p:nvPicPr>
                <p:cNvPr id="14" name="잉크 13">
                  <a:extLst>
                    <a:ext uri="{FF2B5EF4-FFF2-40B4-BE49-F238E27FC236}">
                      <a16:creationId xmlns:a16="http://schemas.microsoft.com/office/drawing/2014/main" id="{04B5ED92-CE27-4245-BB18-6AFD3D6AFC5E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783264" y="3409512"/>
                  <a:ext cx="39600" cy="25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">
              <p14:nvContentPartPr>
                <p14:cNvPr id="15" name="잉크 14">
                  <a:extLst>
                    <a:ext uri="{FF2B5EF4-FFF2-40B4-BE49-F238E27FC236}">
                      <a16:creationId xmlns:a16="http://schemas.microsoft.com/office/drawing/2014/main" id="{6EE623D4-6281-4311-805D-3A75CA028261}"/>
                    </a:ext>
                  </a:extLst>
                </p14:cNvPr>
                <p14:cNvContentPartPr/>
                <p14:nvPr/>
              </p14:nvContentPartPr>
              <p14:xfrm>
                <a:off x="560784" y="3681312"/>
                <a:ext cx="37800" cy="56160"/>
              </p14:xfrm>
            </p:contentPart>
          </mc:Choice>
          <mc:Fallback xmlns="">
            <p:pic>
              <p:nvPicPr>
                <p:cNvPr id="15" name="잉크 14">
                  <a:extLst>
                    <a:ext uri="{FF2B5EF4-FFF2-40B4-BE49-F238E27FC236}">
                      <a16:creationId xmlns:a16="http://schemas.microsoft.com/office/drawing/2014/main" id="{6EE623D4-6281-4311-805D-3A75CA028261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551784" y="3672672"/>
                  <a:ext cx="55440" cy="7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">
              <p14:nvContentPartPr>
                <p14:cNvPr id="16" name="잉크 15">
                  <a:extLst>
                    <a:ext uri="{FF2B5EF4-FFF2-40B4-BE49-F238E27FC236}">
                      <a16:creationId xmlns:a16="http://schemas.microsoft.com/office/drawing/2014/main" id="{B204A9DB-EFD5-4440-8A82-8913FD6B1628}"/>
                    </a:ext>
                  </a:extLst>
                </p14:cNvPr>
                <p14:cNvContentPartPr/>
                <p14:nvPr/>
              </p14:nvContentPartPr>
              <p14:xfrm>
                <a:off x="623424" y="3608232"/>
                <a:ext cx="78480" cy="207360"/>
              </p14:xfrm>
            </p:contentPart>
          </mc:Choice>
          <mc:Fallback xmlns="">
            <p:pic>
              <p:nvPicPr>
                <p:cNvPr id="16" name="잉크 15">
                  <a:extLst>
                    <a:ext uri="{FF2B5EF4-FFF2-40B4-BE49-F238E27FC236}">
                      <a16:creationId xmlns:a16="http://schemas.microsoft.com/office/drawing/2014/main" id="{B204A9DB-EFD5-4440-8A82-8913FD6B1628}"/>
                    </a:ext>
                  </a:extLst>
                </p:cNvPr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614784" y="3599592"/>
                  <a:ext cx="96120" cy="225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3C6E564A-B1BB-4D01-AA40-3A3DAA2A79A4}"/>
              </a:ext>
            </a:extLst>
          </p:cNvPr>
          <p:cNvGrpSpPr/>
          <p:nvPr/>
        </p:nvGrpSpPr>
        <p:grpSpPr>
          <a:xfrm>
            <a:off x="964344" y="3072192"/>
            <a:ext cx="815760" cy="676440"/>
            <a:chOff x="964344" y="3072192"/>
            <a:chExt cx="815760" cy="6764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5">
              <p14:nvContentPartPr>
                <p14:cNvPr id="19" name="잉크 18">
                  <a:extLst>
                    <a:ext uri="{FF2B5EF4-FFF2-40B4-BE49-F238E27FC236}">
                      <a16:creationId xmlns:a16="http://schemas.microsoft.com/office/drawing/2014/main" id="{0E453C00-04F1-490F-9A41-DF5B767DD6D4}"/>
                    </a:ext>
                  </a:extLst>
                </p14:cNvPr>
                <p14:cNvContentPartPr/>
                <p14:nvPr/>
              </p14:nvContentPartPr>
              <p14:xfrm>
                <a:off x="964344" y="3230592"/>
                <a:ext cx="83880" cy="285840"/>
              </p14:xfrm>
            </p:contentPart>
          </mc:Choice>
          <mc:Fallback xmlns="">
            <p:pic>
              <p:nvPicPr>
                <p:cNvPr id="19" name="잉크 18">
                  <a:extLst>
                    <a:ext uri="{FF2B5EF4-FFF2-40B4-BE49-F238E27FC236}">
                      <a16:creationId xmlns:a16="http://schemas.microsoft.com/office/drawing/2014/main" id="{0E453C00-04F1-490F-9A41-DF5B767DD6D4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955704" y="3221592"/>
                  <a:ext cx="101520" cy="303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7">
              <p14:nvContentPartPr>
                <p14:cNvPr id="20" name="잉크 19">
                  <a:extLst>
                    <a:ext uri="{FF2B5EF4-FFF2-40B4-BE49-F238E27FC236}">
                      <a16:creationId xmlns:a16="http://schemas.microsoft.com/office/drawing/2014/main" id="{B455165E-5000-43ED-819D-E2B923EFC9DC}"/>
                    </a:ext>
                  </a:extLst>
                </p14:cNvPr>
                <p14:cNvContentPartPr/>
                <p14:nvPr/>
              </p14:nvContentPartPr>
              <p14:xfrm>
                <a:off x="1072704" y="3437592"/>
                <a:ext cx="75960" cy="80280"/>
              </p14:xfrm>
            </p:contentPart>
          </mc:Choice>
          <mc:Fallback xmlns="">
            <p:pic>
              <p:nvPicPr>
                <p:cNvPr id="20" name="잉크 19">
                  <a:extLst>
                    <a:ext uri="{FF2B5EF4-FFF2-40B4-BE49-F238E27FC236}">
                      <a16:creationId xmlns:a16="http://schemas.microsoft.com/office/drawing/2014/main" id="{B455165E-5000-43ED-819D-E2B923EFC9DC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1064064" y="3428952"/>
                  <a:ext cx="93600" cy="97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9">
              <p14:nvContentPartPr>
                <p14:cNvPr id="21" name="잉크 20">
                  <a:extLst>
                    <a:ext uri="{FF2B5EF4-FFF2-40B4-BE49-F238E27FC236}">
                      <a16:creationId xmlns:a16="http://schemas.microsoft.com/office/drawing/2014/main" id="{AB5A4799-DE7A-414C-A8F5-5139EDEB9633}"/>
                    </a:ext>
                  </a:extLst>
                </p14:cNvPr>
                <p14:cNvContentPartPr/>
                <p14:nvPr/>
              </p14:nvContentPartPr>
              <p14:xfrm>
                <a:off x="1206984" y="3072192"/>
                <a:ext cx="37080" cy="370080"/>
              </p14:xfrm>
            </p:contentPart>
          </mc:Choice>
          <mc:Fallback xmlns="">
            <p:pic>
              <p:nvPicPr>
                <p:cNvPr id="21" name="잉크 20">
                  <a:extLst>
                    <a:ext uri="{FF2B5EF4-FFF2-40B4-BE49-F238E27FC236}">
                      <a16:creationId xmlns:a16="http://schemas.microsoft.com/office/drawing/2014/main" id="{AB5A4799-DE7A-414C-A8F5-5139EDEB9633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1197984" y="3063192"/>
                  <a:ext cx="54720" cy="387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1">
              <p14:nvContentPartPr>
                <p14:cNvPr id="22" name="잉크 21">
                  <a:extLst>
                    <a:ext uri="{FF2B5EF4-FFF2-40B4-BE49-F238E27FC236}">
                      <a16:creationId xmlns:a16="http://schemas.microsoft.com/office/drawing/2014/main" id="{FD5F1659-314D-4081-9D91-A2EE602868BC}"/>
                    </a:ext>
                  </a:extLst>
                </p14:cNvPr>
                <p14:cNvContentPartPr/>
                <p14:nvPr/>
              </p14:nvContentPartPr>
              <p14:xfrm>
                <a:off x="1340544" y="3194232"/>
                <a:ext cx="51120" cy="259200"/>
              </p14:xfrm>
            </p:contentPart>
          </mc:Choice>
          <mc:Fallback xmlns="">
            <p:pic>
              <p:nvPicPr>
                <p:cNvPr id="22" name="잉크 21">
                  <a:extLst>
                    <a:ext uri="{FF2B5EF4-FFF2-40B4-BE49-F238E27FC236}">
                      <a16:creationId xmlns:a16="http://schemas.microsoft.com/office/drawing/2014/main" id="{FD5F1659-314D-4081-9D91-A2EE602868BC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1331904" y="3185232"/>
                  <a:ext cx="68760" cy="276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3">
              <p14:nvContentPartPr>
                <p14:cNvPr id="23" name="잉크 22">
                  <a:extLst>
                    <a:ext uri="{FF2B5EF4-FFF2-40B4-BE49-F238E27FC236}">
                      <a16:creationId xmlns:a16="http://schemas.microsoft.com/office/drawing/2014/main" id="{DE666312-82CC-4FC1-B5EC-46BBC1B10744}"/>
                    </a:ext>
                  </a:extLst>
                </p14:cNvPr>
                <p14:cNvContentPartPr/>
                <p14:nvPr/>
              </p14:nvContentPartPr>
              <p14:xfrm>
                <a:off x="1450704" y="3218352"/>
                <a:ext cx="12960" cy="321120"/>
              </p14:xfrm>
            </p:contentPart>
          </mc:Choice>
          <mc:Fallback xmlns="">
            <p:pic>
              <p:nvPicPr>
                <p:cNvPr id="23" name="잉크 22">
                  <a:extLst>
                    <a:ext uri="{FF2B5EF4-FFF2-40B4-BE49-F238E27FC236}">
                      <a16:creationId xmlns:a16="http://schemas.microsoft.com/office/drawing/2014/main" id="{DE666312-82CC-4FC1-B5EC-46BBC1B10744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1441704" y="3209352"/>
                  <a:ext cx="30600" cy="338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5">
              <p14:nvContentPartPr>
                <p14:cNvPr id="24" name="잉크 23">
                  <a:extLst>
                    <a:ext uri="{FF2B5EF4-FFF2-40B4-BE49-F238E27FC236}">
                      <a16:creationId xmlns:a16="http://schemas.microsoft.com/office/drawing/2014/main" id="{86D9F734-3509-4053-BADD-FC7CB88F8830}"/>
                    </a:ext>
                  </a:extLst>
                </p14:cNvPr>
                <p14:cNvContentPartPr/>
                <p14:nvPr/>
              </p14:nvContentPartPr>
              <p14:xfrm>
                <a:off x="1523784" y="3376752"/>
                <a:ext cx="12600" cy="360"/>
              </p14:xfrm>
            </p:contentPart>
          </mc:Choice>
          <mc:Fallback xmlns="">
            <p:pic>
              <p:nvPicPr>
                <p:cNvPr id="24" name="잉크 23">
                  <a:extLst>
                    <a:ext uri="{FF2B5EF4-FFF2-40B4-BE49-F238E27FC236}">
                      <a16:creationId xmlns:a16="http://schemas.microsoft.com/office/drawing/2014/main" id="{86D9F734-3509-4053-BADD-FC7CB88F8830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1514784" y="3367752"/>
                  <a:ext cx="3024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7">
              <p14:nvContentPartPr>
                <p14:cNvPr id="25" name="잉크 24">
                  <a:extLst>
                    <a:ext uri="{FF2B5EF4-FFF2-40B4-BE49-F238E27FC236}">
                      <a16:creationId xmlns:a16="http://schemas.microsoft.com/office/drawing/2014/main" id="{54FC514B-7565-40F6-8C22-06973E135F42}"/>
                    </a:ext>
                  </a:extLst>
                </p14:cNvPr>
                <p14:cNvContentPartPr/>
                <p14:nvPr/>
              </p14:nvContentPartPr>
              <p14:xfrm>
                <a:off x="1280064" y="3571872"/>
                <a:ext cx="146880" cy="176760"/>
              </p14:xfrm>
            </p:contentPart>
          </mc:Choice>
          <mc:Fallback xmlns="">
            <p:pic>
              <p:nvPicPr>
                <p:cNvPr id="25" name="잉크 24">
                  <a:extLst>
                    <a:ext uri="{FF2B5EF4-FFF2-40B4-BE49-F238E27FC236}">
                      <a16:creationId xmlns:a16="http://schemas.microsoft.com/office/drawing/2014/main" id="{54FC514B-7565-40F6-8C22-06973E135F42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1271424" y="3563232"/>
                  <a:ext cx="164520" cy="194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9">
              <p14:nvContentPartPr>
                <p14:cNvPr id="27" name="잉크 26">
                  <a:extLst>
                    <a:ext uri="{FF2B5EF4-FFF2-40B4-BE49-F238E27FC236}">
                      <a16:creationId xmlns:a16="http://schemas.microsoft.com/office/drawing/2014/main" id="{1DB68BA1-A1B2-4052-B91F-8E821A82B806}"/>
                    </a:ext>
                  </a:extLst>
                </p14:cNvPr>
                <p14:cNvContentPartPr/>
                <p14:nvPr/>
              </p14:nvContentPartPr>
              <p14:xfrm>
                <a:off x="1644744" y="3223032"/>
                <a:ext cx="100080" cy="129600"/>
              </p14:xfrm>
            </p:contentPart>
          </mc:Choice>
          <mc:Fallback xmlns="">
            <p:pic>
              <p:nvPicPr>
                <p:cNvPr id="27" name="잉크 26">
                  <a:extLst>
                    <a:ext uri="{FF2B5EF4-FFF2-40B4-BE49-F238E27FC236}">
                      <a16:creationId xmlns:a16="http://schemas.microsoft.com/office/drawing/2014/main" id="{1DB68BA1-A1B2-4052-B91F-8E821A82B806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1635744" y="3214392"/>
                  <a:ext cx="117720" cy="147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1">
              <p14:nvContentPartPr>
                <p14:cNvPr id="28" name="잉크 27">
                  <a:extLst>
                    <a:ext uri="{FF2B5EF4-FFF2-40B4-BE49-F238E27FC236}">
                      <a16:creationId xmlns:a16="http://schemas.microsoft.com/office/drawing/2014/main" id="{485BA047-FF22-4ABA-9811-3A4500AEC560}"/>
                    </a:ext>
                  </a:extLst>
                </p14:cNvPr>
                <p14:cNvContentPartPr/>
                <p14:nvPr/>
              </p14:nvContentPartPr>
              <p14:xfrm>
                <a:off x="1560144" y="3413472"/>
                <a:ext cx="219960" cy="37800"/>
              </p14:xfrm>
            </p:contentPart>
          </mc:Choice>
          <mc:Fallback xmlns="">
            <p:pic>
              <p:nvPicPr>
                <p:cNvPr id="28" name="잉크 27">
                  <a:extLst>
                    <a:ext uri="{FF2B5EF4-FFF2-40B4-BE49-F238E27FC236}">
                      <a16:creationId xmlns:a16="http://schemas.microsoft.com/office/drawing/2014/main" id="{485BA047-FF22-4ABA-9811-3A4500AEC560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1551144" y="3404832"/>
                  <a:ext cx="237600" cy="5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3">
              <p14:nvContentPartPr>
                <p14:cNvPr id="29" name="잉크 28">
                  <a:extLst>
                    <a:ext uri="{FF2B5EF4-FFF2-40B4-BE49-F238E27FC236}">
                      <a16:creationId xmlns:a16="http://schemas.microsoft.com/office/drawing/2014/main" id="{C2655C0C-007D-468A-987A-0C565F7CB67D}"/>
                    </a:ext>
                  </a:extLst>
                </p14:cNvPr>
                <p14:cNvContentPartPr/>
                <p14:nvPr/>
              </p14:nvContentPartPr>
              <p14:xfrm>
                <a:off x="1620984" y="3559992"/>
                <a:ext cx="56160" cy="145800"/>
              </p14:xfrm>
            </p:contentPart>
          </mc:Choice>
          <mc:Fallback xmlns="">
            <p:pic>
              <p:nvPicPr>
                <p:cNvPr id="29" name="잉크 28">
                  <a:extLst>
                    <a:ext uri="{FF2B5EF4-FFF2-40B4-BE49-F238E27FC236}">
                      <a16:creationId xmlns:a16="http://schemas.microsoft.com/office/drawing/2014/main" id="{C2655C0C-007D-468A-987A-0C565F7CB67D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1612344" y="3550992"/>
                  <a:ext cx="73800" cy="1634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9" name="그룹 58">
            <a:extLst>
              <a:ext uri="{FF2B5EF4-FFF2-40B4-BE49-F238E27FC236}">
                <a16:creationId xmlns:a16="http://schemas.microsoft.com/office/drawing/2014/main" id="{1B3ADD32-18D5-421F-BBCE-C9C467D504C8}"/>
              </a:ext>
            </a:extLst>
          </p:cNvPr>
          <p:cNvGrpSpPr/>
          <p:nvPr/>
        </p:nvGrpSpPr>
        <p:grpSpPr>
          <a:xfrm>
            <a:off x="219144" y="3939432"/>
            <a:ext cx="1244520" cy="585720"/>
            <a:chOff x="219144" y="3939432"/>
            <a:chExt cx="1244520" cy="5857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5">
              <p14:nvContentPartPr>
                <p14:cNvPr id="30" name="잉크 29">
                  <a:extLst>
                    <a:ext uri="{FF2B5EF4-FFF2-40B4-BE49-F238E27FC236}">
                      <a16:creationId xmlns:a16="http://schemas.microsoft.com/office/drawing/2014/main" id="{A11568C8-C0C1-4529-BDF1-899674A9B8DF}"/>
                    </a:ext>
                  </a:extLst>
                </p14:cNvPr>
                <p14:cNvContentPartPr/>
                <p14:nvPr/>
              </p14:nvContentPartPr>
              <p14:xfrm>
                <a:off x="219144" y="4084152"/>
                <a:ext cx="151200" cy="172080"/>
              </p14:xfrm>
            </p:contentPart>
          </mc:Choice>
          <mc:Fallback xmlns="">
            <p:pic>
              <p:nvPicPr>
                <p:cNvPr id="30" name="잉크 29">
                  <a:extLst>
                    <a:ext uri="{FF2B5EF4-FFF2-40B4-BE49-F238E27FC236}">
                      <a16:creationId xmlns:a16="http://schemas.microsoft.com/office/drawing/2014/main" id="{A11568C8-C0C1-4529-BDF1-899674A9B8DF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210144" y="4075152"/>
                  <a:ext cx="168840" cy="189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7">
              <p14:nvContentPartPr>
                <p14:cNvPr id="31" name="잉크 30">
                  <a:extLst>
                    <a:ext uri="{FF2B5EF4-FFF2-40B4-BE49-F238E27FC236}">
                      <a16:creationId xmlns:a16="http://schemas.microsoft.com/office/drawing/2014/main" id="{E27F7F1F-897A-43A3-9AE4-016B7CB76A42}"/>
                    </a:ext>
                  </a:extLst>
                </p14:cNvPr>
                <p14:cNvContentPartPr/>
                <p14:nvPr/>
              </p14:nvContentPartPr>
              <p14:xfrm>
                <a:off x="329304" y="4254432"/>
                <a:ext cx="54720" cy="360"/>
              </p14:xfrm>
            </p:contentPart>
          </mc:Choice>
          <mc:Fallback xmlns="">
            <p:pic>
              <p:nvPicPr>
                <p:cNvPr id="31" name="잉크 30">
                  <a:extLst>
                    <a:ext uri="{FF2B5EF4-FFF2-40B4-BE49-F238E27FC236}">
                      <a16:creationId xmlns:a16="http://schemas.microsoft.com/office/drawing/2014/main" id="{E27F7F1F-897A-43A3-9AE4-016B7CB76A42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320304" y="4245792"/>
                  <a:ext cx="7236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9">
              <p14:nvContentPartPr>
                <p14:cNvPr id="32" name="잉크 31">
                  <a:extLst>
                    <a:ext uri="{FF2B5EF4-FFF2-40B4-BE49-F238E27FC236}">
                      <a16:creationId xmlns:a16="http://schemas.microsoft.com/office/drawing/2014/main" id="{94822E4E-0933-4A40-BCA4-20EE305D495D}"/>
                    </a:ext>
                  </a:extLst>
                </p14:cNvPr>
                <p14:cNvContentPartPr/>
                <p14:nvPr/>
              </p14:nvContentPartPr>
              <p14:xfrm>
                <a:off x="462864" y="3962112"/>
                <a:ext cx="17640" cy="199440"/>
              </p14:xfrm>
            </p:contentPart>
          </mc:Choice>
          <mc:Fallback xmlns="">
            <p:pic>
              <p:nvPicPr>
                <p:cNvPr id="32" name="잉크 31">
                  <a:extLst>
                    <a:ext uri="{FF2B5EF4-FFF2-40B4-BE49-F238E27FC236}">
                      <a16:creationId xmlns:a16="http://schemas.microsoft.com/office/drawing/2014/main" id="{94822E4E-0933-4A40-BCA4-20EE305D495D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453864" y="3953112"/>
                  <a:ext cx="35280" cy="217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1">
              <p14:nvContentPartPr>
                <p14:cNvPr id="33" name="잉크 32">
                  <a:extLst>
                    <a:ext uri="{FF2B5EF4-FFF2-40B4-BE49-F238E27FC236}">
                      <a16:creationId xmlns:a16="http://schemas.microsoft.com/office/drawing/2014/main" id="{8532E512-4322-425D-8DB2-1DCD180BAC4F}"/>
                    </a:ext>
                  </a:extLst>
                </p14:cNvPr>
                <p14:cNvContentPartPr/>
                <p14:nvPr/>
              </p14:nvContentPartPr>
              <p14:xfrm>
                <a:off x="511824" y="4084152"/>
                <a:ext cx="49320" cy="360"/>
              </p14:xfrm>
            </p:contentPart>
          </mc:Choice>
          <mc:Fallback xmlns="">
            <p:pic>
              <p:nvPicPr>
                <p:cNvPr id="33" name="잉크 32">
                  <a:extLst>
                    <a:ext uri="{FF2B5EF4-FFF2-40B4-BE49-F238E27FC236}">
                      <a16:creationId xmlns:a16="http://schemas.microsoft.com/office/drawing/2014/main" id="{8532E512-4322-425D-8DB2-1DCD180BAC4F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502824" y="4075152"/>
                  <a:ext cx="6696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3">
              <p14:nvContentPartPr>
                <p14:cNvPr id="34" name="잉크 33">
                  <a:extLst>
                    <a:ext uri="{FF2B5EF4-FFF2-40B4-BE49-F238E27FC236}">
                      <a16:creationId xmlns:a16="http://schemas.microsoft.com/office/drawing/2014/main" id="{46D494A4-B4DD-41B0-84BA-107A7DAC0179}"/>
                    </a:ext>
                  </a:extLst>
                </p14:cNvPr>
                <p14:cNvContentPartPr/>
                <p14:nvPr/>
              </p14:nvContentPartPr>
              <p14:xfrm>
                <a:off x="329304" y="4339032"/>
                <a:ext cx="192240" cy="186120"/>
              </p14:xfrm>
            </p:contentPart>
          </mc:Choice>
          <mc:Fallback xmlns="">
            <p:pic>
              <p:nvPicPr>
                <p:cNvPr id="34" name="잉크 33">
                  <a:extLst>
                    <a:ext uri="{FF2B5EF4-FFF2-40B4-BE49-F238E27FC236}">
                      <a16:creationId xmlns:a16="http://schemas.microsoft.com/office/drawing/2014/main" id="{46D494A4-B4DD-41B0-84BA-107A7DAC0179}"/>
                    </a:ext>
                  </a:extLst>
                </p:cNvPr>
                <p:cNvPicPr/>
                <p:nvPr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320304" y="4330392"/>
                  <a:ext cx="209880" cy="203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5">
              <p14:nvContentPartPr>
                <p14:cNvPr id="35" name="잉크 34">
                  <a:extLst>
                    <a:ext uri="{FF2B5EF4-FFF2-40B4-BE49-F238E27FC236}">
                      <a16:creationId xmlns:a16="http://schemas.microsoft.com/office/drawing/2014/main" id="{ED3309FE-31C8-413D-9EE7-5CCA7B27EC92}"/>
                    </a:ext>
                  </a:extLst>
                </p14:cNvPr>
                <p14:cNvContentPartPr/>
                <p14:nvPr/>
              </p14:nvContentPartPr>
              <p14:xfrm>
                <a:off x="719544" y="4055712"/>
                <a:ext cx="153720" cy="103320"/>
              </p14:xfrm>
            </p:contentPart>
          </mc:Choice>
          <mc:Fallback xmlns="">
            <p:pic>
              <p:nvPicPr>
                <p:cNvPr id="35" name="잉크 34">
                  <a:extLst>
                    <a:ext uri="{FF2B5EF4-FFF2-40B4-BE49-F238E27FC236}">
                      <a16:creationId xmlns:a16="http://schemas.microsoft.com/office/drawing/2014/main" id="{ED3309FE-31C8-413D-9EE7-5CCA7B27EC92}"/>
                    </a:ext>
                  </a:extLst>
                </p:cNvPr>
                <p:cNvPicPr/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710544" y="4046712"/>
                  <a:ext cx="171360" cy="120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7">
              <p14:nvContentPartPr>
                <p14:cNvPr id="36" name="잉크 35">
                  <a:extLst>
                    <a:ext uri="{FF2B5EF4-FFF2-40B4-BE49-F238E27FC236}">
                      <a16:creationId xmlns:a16="http://schemas.microsoft.com/office/drawing/2014/main" id="{6B2CA62D-C703-49DE-9ACC-6B5A2D48BD69}"/>
                    </a:ext>
                  </a:extLst>
                </p14:cNvPr>
                <p14:cNvContentPartPr/>
                <p14:nvPr/>
              </p14:nvContentPartPr>
              <p14:xfrm>
                <a:off x="987384" y="3949872"/>
                <a:ext cx="25560" cy="255960"/>
              </p14:xfrm>
            </p:contentPart>
          </mc:Choice>
          <mc:Fallback xmlns="">
            <p:pic>
              <p:nvPicPr>
                <p:cNvPr id="36" name="잉크 35">
                  <a:extLst>
                    <a:ext uri="{FF2B5EF4-FFF2-40B4-BE49-F238E27FC236}">
                      <a16:creationId xmlns:a16="http://schemas.microsoft.com/office/drawing/2014/main" id="{6B2CA62D-C703-49DE-9ACC-6B5A2D48BD69}"/>
                    </a:ext>
                  </a:extLst>
                </p:cNvPr>
                <p:cNvPicPr/>
                <p:nvPr/>
              </p:nvPicPr>
              <p:blipFill>
                <a:blip r:embed="rId58"/>
                <a:stretch>
                  <a:fillRect/>
                </a:stretch>
              </p:blipFill>
              <p:spPr>
                <a:xfrm>
                  <a:off x="978744" y="3940872"/>
                  <a:ext cx="43200" cy="27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9">
              <p14:nvContentPartPr>
                <p14:cNvPr id="37" name="잉크 36">
                  <a:extLst>
                    <a:ext uri="{FF2B5EF4-FFF2-40B4-BE49-F238E27FC236}">
                      <a16:creationId xmlns:a16="http://schemas.microsoft.com/office/drawing/2014/main" id="{F7697582-79D2-4982-8EA9-D6308E6B94EA}"/>
                    </a:ext>
                  </a:extLst>
                </p14:cNvPr>
                <p14:cNvContentPartPr/>
                <p14:nvPr/>
              </p14:nvContentPartPr>
              <p14:xfrm>
                <a:off x="765984" y="4205472"/>
                <a:ext cx="126000" cy="223920"/>
              </p14:xfrm>
            </p:contentPart>
          </mc:Choice>
          <mc:Fallback xmlns="">
            <p:pic>
              <p:nvPicPr>
                <p:cNvPr id="37" name="잉크 36">
                  <a:extLst>
                    <a:ext uri="{FF2B5EF4-FFF2-40B4-BE49-F238E27FC236}">
                      <a16:creationId xmlns:a16="http://schemas.microsoft.com/office/drawing/2014/main" id="{F7697582-79D2-4982-8EA9-D6308E6B94EA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756984" y="4196832"/>
                  <a:ext cx="143640" cy="24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1">
              <p14:nvContentPartPr>
                <p14:cNvPr id="38" name="잉크 37">
                  <a:extLst>
                    <a:ext uri="{FF2B5EF4-FFF2-40B4-BE49-F238E27FC236}">
                      <a16:creationId xmlns:a16="http://schemas.microsoft.com/office/drawing/2014/main" id="{693D26E5-9A3A-4F9E-B968-366AC1CCBA67}"/>
                    </a:ext>
                  </a:extLst>
                </p14:cNvPr>
                <p14:cNvContentPartPr/>
                <p14:nvPr/>
              </p14:nvContentPartPr>
              <p14:xfrm>
                <a:off x="816384" y="4327872"/>
                <a:ext cx="83520" cy="12240"/>
              </p14:xfrm>
            </p:contentPart>
          </mc:Choice>
          <mc:Fallback xmlns="">
            <p:pic>
              <p:nvPicPr>
                <p:cNvPr id="38" name="잉크 37">
                  <a:extLst>
                    <a:ext uri="{FF2B5EF4-FFF2-40B4-BE49-F238E27FC236}">
                      <a16:creationId xmlns:a16="http://schemas.microsoft.com/office/drawing/2014/main" id="{693D26E5-9A3A-4F9E-B968-366AC1CCBA67}"/>
                    </a:ext>
                  </a:extLst>
                </p:cNvPr>
                <p:cNvPicPr/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807744" y="4318872"/>
                  <a:ext cx="101160" cy="29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3">
              <p14:nvContentPartPr>
                <p14:cNvPr id="42" name="잉크 41">
                  <a:extLst>
                    <a:ext uri="{FF2B5EF4-FFF2-40B4-BE49-F238E27FC236}">
                      <a16:creationId xmlns:a16="http://schemas.microsoft.com/office/drawing/2014/main" id="{1DE8E186-F458-41EB-AB7B-5F410AF14AE7}"/>
                    </a:ext>
                  </a:extLst>
                </p14:cNvPr>
                <p14:cNvContentPartPr/>
                <p14:nvPr/>
              </p14:nvContentPartPr>
              <p14:xfrm>
                <a:off x="1121304" y="3939432"/>
                <a:ext cx="172800" cy="244080"/>
              </p14:xfrm>
            </p:contentPart>
          </mc:Choice>
          <mc:Fallback xmlns="">
            <p:pic>
              <p:nvPicPr>
                <p:cNvPr id="42" name="잉크 41">
                  <a:extLst>
                    <a:ext uri="{FF2B5EF4-FFF2-40B4-BE49-F238E27FC236}">
                      <a16:creationId xmlns:a16="http://schemas.microsoft.com/office/drawing/2014/main" id="{1DE8E186-F458-41EB-AB7B-5F410AF14AE7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1112304" y="3930432"/>
                  <a:ext cx="190440" cy="261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5">
              <p14:nvContentPartPr>
                <p14:cNvPr id="43" name="잉크 42">
                  <a:extLst>
                    <a:ext uri="{FF2B5EF4-FFF2-40B4-BE49-F238E27FC236}">
                      <a16:creationId xmlns:a16="http://schemas.microsoft.com/office/drawing/2014/main" id="{DBF918BA-6382-4390-9227-8169E18E1A76}"/>
                    </a:ext>
                  </a:extLst>
                </p14:cNvPr>
                <p14:cNvContentPartPr/>
                <p14:nvPr/>
              </p14:nvContentPartPr>
              <p14:xfrm>
                <a:off x="1280064" y="3961752"/>
                <a:ext cx="150480" cy="171000"/>
              </p14:xfrm>
            </p:contentPart>
          </mc:Choice>
          <mc:Fallback xmlns="">
            <p:pic>
              <p:nvPicPr>
                <p:cNvPr id="43" name="잉크 42">
                  <a:extLst>
                    <a:ext uri="{FF2B5EF4-FFF2-40B4-BE49-F238E27FC236}">
                      <a16:creationId xmlns:a16="http://schemas.microsoft.com/office/drawing/2014/main" id="{DBF918BA-6382-4390-9227-8169E18E1A76}"/>
                    </a:ext>
                  </a:extLst>
                </p:cNvPr>
                <p:cNvPicPr/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1271424" y="3953112"/>
                  <a:ext cx="168120" cy="188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7">
              <p14:nvContentPartPr>
                <p14:cNvPr id="44" name="잉크 43">
                  <a:extLst>
                    <a:ext uri="{FF2B5EF4-FFF2-40B4-BE49-F238E27FC236}">
                      <a16:creationId xmlns:a16="http://schemas.microsoft.com/office/drawing/2014/main" id="{52424D1B-64B5-4F29-90E2-AC1A912510CD}"/>
                    </a:ext>
                  </a:extLst>
                </p14:cNvPr>
                <p14:cNvContentPartPr/>
                <p14:nvPr/>
              </p14:nvContentPartPr>
              <p14:xfrm>
                <a:off x="1243344" y="4169112"/>
                <a:ext cx="220320" cy="12960"/>
              </p14:xfrm>
            </p:contentPart>
          </mc:Choice>
          <mc:Fallback xmlns="">
            <p:pic>
              <p:nvPicPr>
                <p:cNvPr id="44" name="잉크 43">
                  <a:extLst>
                    <a:ext uri="{FF2B5EF4-FFF2-40B4-BE49-F238E27FC236}">
                      <a16:creationId xmlns:a16="http://schemas.microsoft.com/office/drawing/2014/main" id="{52424D1B-64B5-4F29-90E2-AC1A912510CD}"/>
                    </a:ext>
                  </a:extLst>
                </p:cNvPr>
                <p:cNvPicPr/>
                <p:nvPr/>
              </p:nvPicPr>
              <p:blipFill>
                <a:blip r:embed="rId68"/>
                <a:stretch>
                  <a:fillRect/>
                </a:stretch>
              </p:blipFill>
              <p:spPr>
                <a:xfrm>
                  <a:off x="1234344" y="4160112"/>
                  <a:ext cx="237960" cy="30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9">
              <p14:nvContentPartPr>
                <p14:cNvPr id="45" name="잉크 44">
                  <a:extLst>
                    <a:ext uri="{FF2B5EF4-FFF2-40B4-BE49-F238E27FC236}">
                      <a16:creationId xmlns:a16="http://schemas.microsoft.com/office/drawing/2014/main" id="{76D9D43F-7A8A-4B79-BBCA-156057AAF453}"/>
                    </a:ext>
                  </a:extLst>
                </p14:cNvPr>
                <p14:cNvContentPartPr/>
                <p14:nvPr/>
              </p14:nvContentPartPr>
              <p14:xfrm>
                <a:off x="1219224" y="4255512"/>
                <a:ext cx="121320" cy="11520"/>
              </p14:xfrm>
            </p:contentPart>
          </mc:Choice>
          <mc:Fallback xmlns="">
            <p:pic>
              <p:nvPicPr>
                <p:cNvPr id="45" name="잉크 44">
                  <a:extLst>
                    <a:ext uri="{FF2B5EF4-FFF2-40B4-BE49-F238E27FC236}">
                      <a16:creationId xmlns:a16="http://schemas.microsoft.com/office/drawing/2014/main" id="{76D9D43F-7A8A-4B79-BBCA-156057AAF453}"/>
                    </a:ext>
                  </a:extLst>
                </p:cNvPr>
                <p:cNvPicPr/>
                <p:nvPr/>
              </p:nvPicPr>
              <p:blipFill>
                <a:blip r:embed="rId70"/>
                <a:stretch>
                  <a:fillRect/>
                </a:stretch>
              </p:blipFill>
              <p:spPr>
                <a:xfrm>
                  <a:off x="1210224" y="4246872"/>
                  <a:ext cx="138960" cy="29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1">
              <p14:nvContentPartPr>
                <p14:cNvPr id="46" name="잉크 45">
                  <a:extLst>
                    <a:ext uri="{FF2B5EF4-FFF2-40B4-BE49-F238E27FC236}">
                      <a16:creationId xmlns:a16="http://schemas.microsoft.com/office/drawing/2014/main" id="{2494EBE2-86D1-4E4D-B8F2-0E1EC1CEBCC7}"/>
                    </a:ext>
                  </a:extLst>
                </p14:cNvPr>
                <p14:cNvContentPartPr/>
                <p14:nvPr/>
              </p14:nvContentPartPr>
              <p14:xfrm>
                <a:off x="1206624" y="4278912"/>
                <a:ext cx="192240" cy="211680"/>
              </p14:xfrm>
            </p:contentPart>
          </mc:Choice>
          <mc:Fallback xmlns="">
            <p:pic>
              <p:nvPicPr>
                <p:cNvPr id="46" name="잉크 45">
                  <a:extLst>
                    <a:ext uri="{FF2B5EF4-FFF2-40B4-BE49-F238E27FC236}">
                      <a16:creationId xmlns:a16="http://schemas.microsoft.com/office/drawing/2014/main" id="{2494EBE2-86D1-4E4D-B8F2-0E1EC1CEBCC7}"/>
                    </a:ext>
                  </a:extLst>
                </p:cNvPr>
                <p:cNvPicPr/>
                <p:nvPr/>
              </p:nvPicPr>
              <p:blipFill>
                <a:blip r:embed="rId72"/>
                <a:stretch>
                  <a:fillRect/>
                </a:stretch>
              </p:blipFill>
              <p:spPr>
                <a:xfrm>
                  <a:off x="1197624" y="4269912"/>
                  <a:ext cx="209880" cy="229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3">
              <p14:nvContentPartPr>
                <p14:cNvPr id="47" name="잉크 46">
                  <a:extLst>
                    <a:ext uri="{FF2B5EF4-FFF2-40B4-BE49-F238E27FC236}">
                      <a16:creationId xmlns:a16="http://schemas.microsoft.com/office/drawing/2014/main" id="{21EF8730-14E8-436A-A3B5-6990BAB93A2D}"/>
                    </a:ext>
                  </a:extLst>
                </p14:cNvPr>
                <p14:cNvContentPartPr/>
                <p14:nvPr/>
              </p14:nvContentPartPr>
              <p14:xfrm>
                <a:off x="1301664" y="4388712"/>
                <a:ext cx="111240" cy="360"/>
              </p14:xfrm>
            </p:contentPart>
          </mc:Choice>
          <mc:Fallback xmlns="">
            <p:pic>
              <p:nvPicPr>
                <p:cNvPr id="47" name="잉크 46">
                  <a:extLst>
                    <a:ext uri="{FF2B5EF4-FFF2-40B4-BE49-F238E27FC236}">
                      <a16:creationId xmlns:a16="http://schemas.microsoft.com/office/drawing/2014/main" id="{21EF8730-14E8-436A-A3B5-6990BAB93A2D}"/>
                    </a:ext>
                  </a:extLst>
                </p:cNvPr>
                <p:cNvPicPr/>
                <p:nvPr/>
              </p:nvPicPr>
              <p:blipFill>
                <a:blip r:embed="rId74"/>
                <a:stretch>
                  <a:fillRect/>
                </a:stretch>
              </p:blipFill>
              <p:spPr>
                <a:xfrm>
                  <a:off x="1292664" y="4380072"/>
                  <a:ext cx="128880" cy="18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8" name="그룹 57">
            <a:extLst>
              <a:ext uri="{FF2B5EF4-FFF2-40B4-BE49-F238E27FC236}">
                <a16:creationId xmlns:a16="http://schemas.microsoft.com/office/drawing/2014/main" id="{851FBC98-E18D-4354-AE47-5FAC41A3C510}"/>
              </a:ext>
            </a:extLst>
          </p:cNvPr>
          <p:cNvGrpSpPr/>
          <p:nvPr/>
        </p:nvGrpSpPr>
        <p:grpSpPr>
          <a:xfrm>
            <a:off x="335424" y="4754472"/>
            <a:ext cx="205920" cy="458280"/>
            <a:chOff x="335424" y="4754472"/>
            <a:chExt cx="205920" cy="4582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5">
              <p14:nvContentPartPr>
                <p14:cNvPr id="48" name="잉크 47">
                  <a:extLst>
                    <a:ext uri="{FF2B5EF4-FFF2-40B4-BE49-F238E27FC236}">
                      <a16:creationId xmlns:a16="http://schemas.microsoft.com/office/drawing/2014/main" id="{9D6217DE-8269-42AA-AFDF-2762DCB2445B}"/>
                    </a:ext>
                  </a:extLst>
                </p14:cNvPr>
                <p14:cNvContentPartPr/>
                <p14:nvPr/>
              </p14:nvContentPartPr>
              <p14:xfrm>
                <a:off x="335424" y="4754472"/>
                <a:ext cx="164520" cy="338760"/>
              </p14:xfrm>
            </p:contentPart>
          </mc:Choice>
          <mc:Fallback xmlns="">
            <p:pic>
              <p:nvPicPr>
                <p:cNvPr id="48" name="잉크 47">
                  <a:extLst>
                    <a:ext uri="{FF2B5EF4-FFF2-40B4-BE49-F238E27FC236}">
                      <a16:creationId xmlns:a16="http://schemas.microsoft.com/office/drawing/2014/main" id="{9D6217DE-8269-42AA-AFDF-2762DCB2445B}"/>
                    </a:ext>
                  </a:extLst>
                </p:cNvPr>
                <p:cNvPicPr/>
                <p:nvPr/>
              </p:nvPicPr>
              <p:blipFill>
                <a:blip r:embed="rId76"/>
                <a:stretch>
                  <a:fillRect/>
                </a:stretch>
              </p:blipFill>
              <p:spPr>
                <a:xfrm>
                  <a:off x="326784" y="4745832"/>
                  <a:ext cx="182160" cy="356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7">
              <p14:nvContentPartPr>
                <p14:cNvPr id="49" name="잉크 48">
                  <a:extLst>
                    <a:ext uri="{FF2B5EF4-FFF2-40B4-BE49-F238E27FC236}">
                      <a16:creationId xmlns:a16="http://schemas.microsoft.com/office/drawing/2014/main" id="{2E194FA6-C060-4A67-9CAA-109D496C5460}"/>
                    </a:ext>
                  </a:extLst>
                </p14:cNvPr>
                <p14:cNvContentPartPr/>
                <p14:nvPr/>
              </p14:nvContentPartPr>
              <p14:xfrm>
                <a:off x="426504" y="5010432"/>
                <a:ext cx="114840" cy="202320"/>
              </p14:xfrm>
            </p:contentPart>
          </mc:Choice>
          <mc:Fallback xmlns="">
            <p:pic>
              <p:nvPicPr>
                <p:cNvPr id="49" name="잉크 48">
                  <a:extLst>
                    <a:ext uri="{FF2B5EF4-FFF2-40B4-BE49-F238E27FC236}">
                      <a16:creationId xmlns:a16="http://schemas.microsoft.com/office/drawing/2014/main" id="{2E194FA6-C060-4A67-9CAA-109D496C5460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417504" y="5001432"/>
                  <a:ext cx="132480" cy="2199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63F0BFB6-3AB2-4FC4-9762-C5CED522D196}"/>
              </a:ext>
            </a:extLst>
          </p:cNvPr>
          <p:cNvGrpSpPr/>
          <p:nvPr/>
        </p:nvGrpSpPr>
        <p:grpSpPr>
          <a:xfrm>
            <a:off x="706944" y="4693632"/>
            <a:ext cx="994680" cy="569520"/>
            <a:chOff x="706944" y="4693632"/>
            <a:chExt cx="994680" cy="5695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9">
              <p14:nvContentPartPr>
                <p14:cNvPr id="50" name="잉크 49">
                  <a:extLst>
                    <a:ext uri="{FF2B5EF4-FFF2-40B4-BE49-F238E27FC236}">
                      <a16:creationId xmlns:a16="http://schemas.microsoft.com/office/drawing/2014/main" id="{61D6A3B9-D8BC-4ECF-BBE5-744686F2B209}"/>
                    </a:ext>
                  </a:extLst>
                </p14:cNvPr>
                <p14:cNvContentPartPr/>
                <p14:nvPr/>
              </p14:nvContentPartPr>
              <p14:xfrm>
                <a:off x="706944" y="4693632"/>
                <a:ext cx="360" cy="440280"/>
              </p14:xfrm>
            </p:contentPart>
          </mc:Choice>
          <mc:Fallback xmlns="">
            <p:pic>
              <p:nvPicPr>
                <p:cNvPr id="50" name="잉크 49">
                  <a:extLst>
                    <a:ext uri="{FF2B5EF4-FFF2-40B4-BE49-F238E27FC236}">
                      <a16:creationId xmlns:a16="http://schemas.microsoft.com/office/drawing/2014/main" id="{61D6A3B9-D8BC-4ECF-BBE5-744686F2B209}"/>
                    </a:ext>
                  </a:extLst>
                </p:cNvPr>
                <p:cNvPicPr/>
                <p:nvPr/>
              </p:nvPicPr>
              <p:blipFill>
                <a:blip r:embed="rId80"/>
                <a:stretch>
                  <a:fillRect/>
                </a:stretch>
              </p:blipFill>
              <p:spPr>
                <a:xfrm>
                  <a:off x="698304" y="4684632"/>
                  <a:ext cx="18000" cy="457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1">
              <p14:nvContentPartPr>
                <p14:cNvPr id="51" name="잉크 50">
                  <a:extLst>
                    <a:ext uri="{FF2B5EF4-FFF2-40B4-BE49-F238E27FC236}">
                      <a16:creationId xmlns:a16="http://schemas.microsoft.com/office/drawing/2014/main" id="{D2006EDE-1254-4CD9-B2AB-A99386F56614}"/>
                    </a:ext>
                  </a:extLst>
                </p14:cNvPr>
                <p14:cNvContentPartPr/>
                <p14:nvPr/>
              </p14:nvContentPartPr>
              <p14:xfrm>
                <a:off x="841224" y="4741872"/>
                <a:ext cx="210960" cy="247320"/>
              </p14:xfrm>
            </p:contentPart>
          </mc:Choice>
          <mc:Fallback xmlns="">
            <p:pic>
              <p:nvPicPr>
                <p:cNvPr id="51" name="잉크 50">
                  <a:extLst>
                    <a:ext uri="{FF2B5EF4-FFF2-40B4-BE49-F238E27FC236}">
                      <a16:creationId xmlns:a16="http://schemas.microsoft.com/office/drawing/2014/main" id="{D2006EDE-1254-4CD9-B2AB-A99386F56614}"/>
                    </a:ext>
                  </a:extLst>
                </p:cNvPr>
                <p:cNvPicPr/>
                <p:nvPr/>
              </p:nvPicPr>
              <p:blipFill>
                <a:blip r:embed="rId82"/>
                <a:stretch>
                  <a:fillRect/>
                </a:stretch>
              </p:blipFill>
              <p:spPr>
                <a:xfrm>
                  <a:off x="832224" y="4733232"/>
                  <a:ext cx="228600" cy="264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3">
              <p14:nvContentPartPr>
                <p14:cNvPr id="52" name="잉크 51">
                  <a:extLst>
                    <a:ext uri="{FF2B5EF4-FFF2-40B4-BE49-F238E27FC236}">
                      <a16:creationId xmlns:a16="http://schemas.microsoft.com/office/drawing/2014/main" id="{17BB69DC-CB1E-476B-99E6-03BE5DFA06DD}"/>
                    </a:ext>
                  </a:extLst>
                </p14:cNvPr>
                <p14:cNvContentPartPr/>
                <p14:nvPr/>
              </p14:nvContentPartPr>
              <p14:xfrm>
                <a:off x="1158024" y="4693632"/>
                <a:ext cx="12960" cy="193680"/>
              </p14:xfrm>
            </p:contentPart>
          </mc:Choice>
          <mc:Fallback xmlns="">
            <p:pic>
              <p:nvPicPr>
                <p:cNvPr id="52" name="잉크 51">
                  <a:extLst>
                    <a:ext uri="{FF2B5EF4-FFF2-40B4-BE49-F238E27FC236}">
                      <a16:creationId xmlns:a16="http://schemas.microsoft.com/office/drawing/2014/main" id="{17BB69DC-CB1E-476B-99E6-03BE5DFA06DD}"/>
                    </a:ext>
                  </a:extLst>
                </p:cNvPr>
                <p:cNvPicPr/>
                <p:nvPr/>
              </p:nvPicPr>
              <p:blipFill>
                <a:blip r:embed="rId84"/>
                <a:stretch>
                  <a:fillRect/>
                </a:stretch>
              </p:blipFill>
              <p:spPr>
                <a:xfrm>
                  <a:off x="1149024" y="4684632"/>
                  <a:ext cx="30600" cy="211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5">
              <p14:nvContentPartPr>
                <p14:cNvPr id="53" name="잉크 52">
                  <a:extLst>
                    <a:ext uri="{FF2B5EF4-FFF2-40B4-BE49-F238E27FC236}">
                      <a16:creationId xmlns:a16="http://schemas.microsoft.com/office/drawing/2014/main" id="{6C81AB4F-CB4A-4850-8243-86F1CE978F52}"/>
                    </a:ext>
                  </a:extLst>
                </p14:cNvPr>
                <p14:cNvContentPartPr/>
                <p14:nvPr/>
              </p14:nvContentPartPr>
              <p14:xfrm>
                <a:off x="1267464" y="4815672"/>
                <a:ext cx="45720" cy="360"/>
              </p14:xfrm>
            </p:contentPart>
          </mc:Choice>
          <mc:Fallback xmlns="">
            <p:pic>
              <p:nvPicPr>
                <p:cNvPr id="53" name="잉크 52">
                  <a:extLst>
                    <a:ext uri="{FF2B5EF4-FFF2-40B4-BE49-F238E27FC236}">
                      <a16:creationId xmlns:a16="http://schemas.microsoft.com/office/drawing/2014/main" id="{6C81AB4F-CB4A-4850-8243-86F1CE978F52}"/>
                    </a:ext>
                  </a:extLst>
                </p:cNvPr>
                <p:cNvPicPr/>
                <p:nvPr/>
              </p:nvPicPr>
              <p:blipFill>
                <a:blip r:embed="rId86"/>
                <a:stretch>
                  <a:fillRect/>
                </a:stretch>
              </p:blipFill>
              <p:spPr>
                <a:xfrm>
                  <a:off x="1258464" y="4806672"/>
                  <a:ext cx="63360" cy="1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7">
              <p14:nvContentPartPr>
                <p14:cNvPr id="54" name="잉크 53">
                  <a:extLst>
                    <a:ext uri="{FF2B5EF4-FFF2-40B4-BE49-F238E27FC236}">
                      <a16:creationId xmlns:a16="http://schemas.microsoft.com/office/drawing/2014/main" id="{2EF1206C-D7DD-4CAB-8524-45FF48A20E6B}"/>
                    </a:ext>
                  </a:extLst>
                </p14:cNvPr>
                <p14:cNvContentPartPr/>
                <p14:nvPr/>
              </p14:nvContentPartPr>
              <p14:xfrm>
                <a:off x="915384" y="4961832"/>
                <a:ext cx="262080" cy="301320"/>
              </p14:xfrm>
            </p:contentPart>
          </mc:Choice>
          <mc:Fallback xmlns="">
            <p:pic>
              <p:nvPicPr>
                <p:cNvPr id="54" name="잉크 53">
                  <a:extLst>
                    <a:ext uri="{FF2B5EF4-FFF2-40B4-BE49-F238E27FC236}">
                      <a16:creationId xmlns:a16="http://schemas.microsoft.com/office/drawing/2014/main" id="{2EF1206C-D7DD-4CAB-8524-45FF48A20E6B}"/>
                    </a:ext>
                  </a:extLst>
                </p:cNvPr>
                <p:cNvPicPr/>
                <p:nvPr/>
              </p:nvPicPr>
              <p:blipFill>
                <a:blip r:embed="rId88"/>
                <a:stretch>
                  <a:fillRect/>
                </a:stretch>
              </p:blipFill>
              <p:spPr>
                <a:xfrm>
                  <a:off x="906744" y="4953192"/>
                  <a:ext cx="279720" cy="31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9">
              <p14:nvContentPartPr>
                <p14:cNvPr id="55" name="잉크 54">
                  <a:extLst>
                    <a:ext uri="{FF2B5EF4-FFF2-40B4-BE49-F238E27FC236}">
                      <a16:creationId xmlns:a16="http://schemas.microsoft.com/office/drawing/2014/main" id="{F0194936-F8DA-409B-B343-421171E91AF9}"/>
                    </a:ext>
                  </a:extLst>
                </p14:cNvPr>
                <p14:cNvContentPartPr/>
                <p14:nvPr/>
              </p14:nvContentPartPr>
              <p14:xfrm>
                <a:off x="1365384" y="4717752"/>
                <a:ext cx="336240" cy="369000"/>
              </p14:xfrm>
            </p:contentPart>
          </mc:Choice>
          <mc:Fallback xmlns="">
            <p:pic>
              <p:nvPicPr>
                <p:cNvPr id="55" name="잉크 54">
                  <a:extLst>
                    <a:ext uri="{FF2B5EF4-FFF2-40B4-BE49-F238E27FC236}">
                      <a16:creationId xmlns:a16="http://schemas.microsoft.com/office/drawing/2014/main" id="{F0194936-F8DA-409B-B343-421171E91AF9}"/>
                    </a:ext>
                  </a:extLst>
                </p:cNvPr>
                <p:cNvPicPr/>
                <p:nvPr/>
              </p:nvPicPr>
              <p:blipFill>
                <a:blip r:embed="rId90"/>
                <a:stretch>
                  <a:fillRect/>
                </a:stretch>
              </p:blipFill>
              <p:spPr>
                <a:xfrm>
                  <a:off x="1356384" y="4708752"/>
                  <a:ext cx="353880" cy="386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1">
              <p14:nvContentPartPr>
                <p14:cNvPr id="56" name="잉크 55">
                  <a:extLst>
                    <a:ext uri="{FF2B5EF4-FFF2-40B4-BE49-F238E27FC236}">
                      <a16:creationId xmlns:a16="http://schemas.microsoft.com/office/drawing/2014/main" id="{9F189A2B-59E9-4D0A-A3D3-AB23D7ACE81A}"/>
                    </a:ext>
                  </a:extLst>
                </p14:cNvPr>
                <p14:cNvContentPartPr/>
                <p14:nvPr/>
              </p14:nvContentPartPr>
              <p14:xfrm>
                <a:off x="1331184" y="4705512"/>
                <a:ext cx="302400" cy="336960"/>
              </p14:xfrm>
            </p:contentPart>
          </mc:Choice>
          <mc:Fallback xmlns="">
            <p:pic>
              <p:nvPicPr>
                <p:cNvPr id="56" name="잉크 55">
                  <a:extLst>
                    <a:ext uri="{FF2B5EF4-FFF2-40B4-BE49-F238E27FC236}">
                      <a16:creationId xmlns:a16="http://schemas.microsoft.com/office/drawing/2014/main" id="{9F189A2B-59E9-4D0A-A3D3-AB23D7ACE81A}"/>
                    </a:ext>
                  </a:extLst>
                </p:cNvPr>
                <p:cNvPicPr/>
                <p:nvPr/>
              </p:nvPicPr>
              <p:blipFill>
                <a:blip r:embed="rId92"/>
                <a:stretch>
                  <a:fillRect/>
                </a:stretch>
              </p:blipFill>
              <p:spPr>
                <a:xfrm>
                  <a:off x="1322544" y="4696872"/>
                  <a:ext cx="320040" cy="3546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191615453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EE4114-EF40-694C-E886-7EFCB837C8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56CA799-3B19-03B4-D722-79F87FB4F6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843AC41-BADC-41E1-2A77-4D6A13DCE7F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883A06FE-0CED-61D5-FE85-78F212FD44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3388" y="1738076"/>
            <a:ext cx="8945223" cy="338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60513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2C6218-B896-487F-5C4F-974FD8CC4D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387DBD5-931F-47CA-2F9E-48DD8287F6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E652E55-3A28-C154-939A-6CC60FEDEC4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F8B6B4E-5DD7-1AA0-2680-9700F425A9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3547" y="1009312"/>
            <a:ext cx="7744906" cy="4839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33256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9F0C76-8FC6-0F2C-B975-EE2A438FA7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D98DF9C-73D6-8CA8-8A90-A162FDF457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2EB5BD8-DDFD-0E5E-BE03-E2C7AFE2CCF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DAA1507-16C1-B1AB-9ECD-79682BD2FC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3838" y="2352525"/>
            <a:ext cx="5544324" cy="215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72062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C9E73C-5B96-8DE0-E24F-ADB2559594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205AEF9-D917-014E-BD72-8ADF23F6D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C15EE03-E50F-AF1E-06FA-336F7459EC0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75F51E9-8A4B-0E2D-85AE-40EF5A48BE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2861" y="1514208"/>
            <a:ext cx="9326277" cy="3829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37727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D595C2-E342-4ABB-9E9D-F5ED172FE9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877D8A9-3A5B-91D2-EB57-DB3A1F98AD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F69A070-CE7A-A68B-91D3-9EF93592B74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4AD0FC8-AB89-E0D4-A6C3-75EBBCF7A9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257" y="1995287"/>
            <a:ext cx="7773485" cy="286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76402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8DC5DE-547E-6BB7-7285-139995840B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D204864-A8EB-198C-E2E9-91277E109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4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EAC3C4C-8FA3-6006-CFAE-5B8D2232BC3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74D8B7F-1F6A-BB22-670B-53499C2A2B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3543" y="2852080"/>
            <a:ext cx="3524914" cy="115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952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05EFC6-8347-46A0-5ADD-C18324BDE8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FF0166E0-5995-9F4B-E184-AC2EA86A9E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8363" y="1504681"/>
            <a:ext cx="7335274" cy="3848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36973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F2A741-F09F-4216-1701-4FD2FED5D6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1BAC492-61EC-E7A8-82E8-81A8EC56E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29A045B-E672-699C-D2C2-60DB5A2C6F79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F028499F-CB82-84A3-5D9A-C467C22A1D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6021" y="2552577"/>
            <a:ext cx="7039957" cy="1752845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C01A27F2-B02B-9112-DBFE-E386A2F5AA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14073" y="4663087"/>
            <a:ext cx="7363853" cy="1381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83010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828538-76A1-8C2A-B206-CB193FE5B7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0EAF361-B619-7A63-3C5D-A983AE463F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73DDC36-46D7-026D-081D-CCA6B31541C8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0968650-E30E-36CC-9FDF-671F5BB3AF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7916" y="1847629"/>
            <a:ext cx="7116168" cy="3162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51458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EF4326-DDE6-5B8B-E28C-7316B942A0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062376B-8077-5A50-287E-15A93C245D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EA8E590-9504-8830-F3E7-4924C064CC0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05C20FD-3272-4197-CBC4-10F0D95E1D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4047" y="794970"/>
            <a:ext cx="7563906" cy="5268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90694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0F697-EA55-2FC9-9BCE-624329F9DB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696A60F-FFE5-345D-DA74-21EFD4C38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9C5DF051-451B-CD62-E7A9-08818BCA3DAF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68776BD-E8BE-43AC-A586-0DF94193BB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95047" y="761628"/>
            <a:ext cx="7201905" cy="5334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65610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5B03C3-FCD5-95E8-FF81-A28CF3832D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6D4448B-F2FE-4051-65B9-163517280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C4ADF0D-7DD2-9E21-DF4C-26403FF6C34F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CE335BB-68AA-5562-2BE9-0B40429105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7206" y="799733"/>
            <a:ext cx="5277587" cy="5258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42734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D6A354-B125-6D4A-0C5C-1DC83D59CB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2E62008-5A80-385E-1017-BCAF1A42E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E76447C-1B8B-369A-2D83-A8F33859A74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DDFD06F-AA15-10F0-C5CC-1E1D057193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8863" y="1476102"/>
            <a:ext cx="7154273" cy="3905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26047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AB6380-2251-195A-37C1-23012F77CE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038ACFB-EFE0-8BA1-7B08-1AF672547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08A07DD-BF05-1BED-4271-A9AE78EF6D3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501C593-4E08-EA33-419D-11DA15916A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9154" y="2090550"/>
            <a:ext cx="4953691" cy="2676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13448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6AAA09-6391-5091-1D32-110EDC890B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F5E05A0-746B-4F31-C920-8D0FC5E2C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896DDC0-B0DD-EE11-FBE5-3FDAF270529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554335E-8E37-1758-D8A6-EAFDFA5E6A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5547" y="504417"/>
            <a:ext cx="7020905" cy="5849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36935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301B64-B549-AAA9-C741-60B1C58A9F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8BD8421-D8C5-BBB0-A632-29881BF1F6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261E9F8-B4EE-34E1-D530-2A5C77AF0C5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794067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4A1C36-D684-206F-FF5D-E8F722E8B7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2CB1EF6-54B4-3E45-40F5-CF6353FCB8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5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43EC4C89-CE44-5663-FE8F-16C1D13A8B4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6207AA9-BC41-02F2-0B92-544EEB811A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2589" y="1625046"/>
            <a:ext cx="8506821" cy="360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564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47338B-07F2-F9DA-C7B6-364CCA122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592D7328-353E-7025-8358-371D5B7677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0758" y="347232"/>
            <a:ext cx="7230484" cy="616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92887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7CADCD-F0E4-68DD-599C-909EA70FED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F4694C4-2099-0D80-07A7-A75F8E1638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3658666-1942-2981-52E6-6438E073D39B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96EF06B-8E4E-9C10-13BF-6E493B8DB3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2437" y="1561648"/>
            <a:ext cx="8207124" cy="3734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56298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A62DB7-88FF-2527-039C-4C690A0043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CFA2494-D179-DAA1-612F-55B333740A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52FF4F8C-BC70-049B-2817-C4707459F9B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532BA7F-409F-A079-ED28-178E3F2B22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3621" y="1532832"/>
            <a:ext cx="8264758" cy="379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68402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EFEE30-8C83-02D6-4655-F7BBAB155F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1633C46-28FC-E023-D62E-6C2953973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7521C44E-D894-9984-0BE8-2C5CA0BE287F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B407715-B213-5BED-4BE1-621F1F0A15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7513" y="1463671"/>
            <a:ext cx="8356973" cy="3930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55452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F07D05-722F-840D-549D-8EB0D44C2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98C2975-5A97-DF50-5F94-410CAD456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5DE2E26-ED2F-2E93-C9E9-08656D78CFA9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9DAFACD-5DD2-2056-4F3B-4015FA7941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6179" y="1279240"/>
            <a:ext cx="7999640" cy="4299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80959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A2A169-DF31-B4AC-DA8E-48B7790AA3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79859F9-FD94-95CD-4A28-5D9E8AB944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BA6A542-7A87-400F-9AFF-CD14E366650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A853734-E5E0-EC8A-3AEA-7F25AEC9D1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4285" y="704470"/>
            <a:ext cx="5763429" cy="5449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50203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F7F4D7-AB72-366E-01C2-FE7706E1D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24D296-7E24-F5EF-2862-5A5DAC0AA4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56B6010-62F9-A594-DAF8-7F59337B951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CABED169-1C13-C7E0-D8B1-0514E3E5AF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2179" y="1342734"/>
            <a:ext cx="7287642" cy="4172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57419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9B4EDD-6A73-1B86-74A1-DD31E9C4C2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03D1E46-50B1-4A05-1902-3A3F8BC9D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83D229DB-6964-997A-B270-FE5967B3EED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E5C6F97-4A92-F4AC-84BB-904AADF913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7863" y="1052181"/>
            <a:ext cx="7516274" cy="4753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5040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39A539-3F12-7652-5625-74A872870F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542C72C-9D2E-ABD4-4E06-579702D45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4636D44-E3DF-F4F7-6509-5D36F926ABE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2A7F816-27F0-2B89-AD03-EE0AFA1320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1335" y="866417"/>
            <a:ext cx="10069330" cy="5125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43448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326A1C-BDFC-E061-B99B-73052084FE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33E41F4-6057-F672-3CD2-8FC01E8920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80C7C49-40CB-237A-945D-1DB2522B296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11292B3-AE19-A7FB-7F7E-50ED84321D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5177" y="856891"/>
            <a:ext cx="9821646" cy="5144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78099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BB5E6C-C909-EA91-C1A9-5F27DD51D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6023155-855E-AE2D-45FF-09617082D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6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77058EF-08B0-D44F-3EAC-A359770B168A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C9731D7-47EF-6360-BAB7-D96140DEED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0887" y="775917"/>
            <a:ext cx="9850225" cy="5306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9680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070D7A-A1C0-7A5F-6B3D-4BCF9A892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01BE6110-B114-729B-7D4F-717DB91CD6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9810" y="2076261"/>
            <a:ext cx="7192379" cy="2705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79585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771145-3BB8-66FD-DABC-0538A913E0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252BB9F-2821-3198-55CC-1C6DD105E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D26A6E9-35A9-685B-1F1C-3BFF7F3EBA3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314A758-ECAE-1178-F12C-83CA5DFC08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3862" y="1204602"/>
            <a:ext cx="8964276" cy="4448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81697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FCDC04-1C4C-6196-FD53-B2F03E4FC5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643C066-7538-7242-616C-E187D49D0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268FCE4D-034A-4007-AB34-5745F034CB24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BD19BFD-831E-3C7A-E3CD-D383B61F68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9572" y="1342734"/>
            <a:ext cx="8992855" cy="4172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59378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5471CE-BC03-9C4A-571B-2E18BD116F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D1ED380-FE96-89DE-AA2C-06DC0939A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6A1E553-0C57-9B62-EC87-100C06A36C6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658397F-176F-8374-93B4-A4D36AEBCB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3729" y="928338"/>
            <a:ext cx="9964541" cy="5001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83369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F8875A-65F6-95CF-A2BB-B96AF4B361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3818D41-272A-0640-E576-4263221DAA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809C94E-1448-C450-CCEC-8C007EC25DD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1FBD4B0-5FE2-92AC-B13B-A2F90230AA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4309" y="1409418"/>
            <a:ext cx="9183382" cy="4039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538349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918E15-CEAB-2DA8-9350-7F264B446F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852E95A-CF7A-4962-9ECF-E451981097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1CA9B9C-9F31-B5E1-4C37-0DDA0305C0B9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8C732B2-610E-CC44-71B4-98F7F9C1F5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3362" y="1161733"/>
            <a:ext cx="9145276" cy="453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635923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7485B9-AF6B-4CF3-1D55-16CCDC111D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8FE622F-32E1-7480-C49A-6C2970521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0087A599-1DBA-1C35-E221-43B5F827F54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C3386CE-69DF-B862-AFC5-9D1C2EDFA7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4994" y="1152207"/>
            <a:ext cx="7602011" cy="4553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023166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BBBA4-16F1-9A34-BF28-6EA70FE67E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C666F93-EDCA-AEEF-53B5-34F6713D8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86967C3-A903-DDB5-CEF6-741111A2548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CA58B70-9633-523F-D77C-A29285611F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4023" y="2119129"/>
            <a:ext cx="4143953" cy="2619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271919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41E0A2-E426-813C-647A-7FF7E6804B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84CAE95-FC1C-A4CF-DAC4-36C91179C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3FF0715-3BBD-CFA4-7E04-081C6D5546CA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AE9C3EF-4A13-8E7E-8B6C-57AD6FA1C7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5127" y="1771418"/>
            <a:ext cx="6601746" cy="331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47682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7B6ECD-75E9-6E7A-28AE-1304206B6A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5364F49-7DE4-36AB-3E72-01DCBE2DD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7E584019-B1CC-995A-1E4E-662D458A1538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E67ADEF-F55A-82D1-625B-5BA6368BE2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8019" y="1180786"/>
            <a:ext cx="9935962" cy="4496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902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0E9BD9-5F01-BD53-9A10-F0542C0CD5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23C9D95-EDF3-3355-5E6D-7A696236F4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7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E777DF2B-E951-6C22-78B1-059C8577A66F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99AC486C-2D0D-A2B1-F777-D11B8E6875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729" y="1447523"/>
            <a:ext cx="10326541" cy="3962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0022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E7CC01-3C6F-0F71-6C6E-5B61E35C44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980FFF05-54DB-05EA-6B1D-A048FA1BE5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0284" y="2066735"/>
            <a:ext cx="7211431" cy="272453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" name="잉크 1">
                <a:extLst>
                  <a:ext uri="{FF2B5EF4-FFF2-40B4-BE49-F238E27FC236}">
                    <a16:creationId xmlns:a16="http://schemas.microsoft.com/office/drawing/2014/main" id="{16590900-D3DD-4A2D-8780-5E39DFAD09A9}"/>
                  </a:ext>
                </a:extLst>
              </p14:cNvPr>
              <p14:cNvContentPartPr/>
              <p14:nvPr/>
            </p14:nvContentPartPr>
            <p14:xfrm>
              <a:off x="2676741" y="2103776"/>
              <a:ext cx="691200" cy="434880"/>
            </p14:xfrm>
          </p:contentPart>
        </mc:Choice>
        <mc:Fallback xmlns="">
          <p:pic>
            <p:nvPicPr>
              <p:cNvPr id="2" name="잉크 1">
                <a:extLst>
                  <a:ext uri="{FF2B5EF4-FFF2-40B4-BE49-F238E27FC236}">
                    <a16:creationId xmlns:a16="http://schemas.microsoft.com/office/drawing/2014/main" id="{16590900-D3DD-4A2D-8780-5E39DFAD09A9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667741" y="2095136"/>
                <a:ext cx="708840" cy="452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3" name="잉크 2">
                <a:extLst>
                  <a:ext uri="{FF2B5EF4-FFF2-40B4-BE49-F238E27FC236}">
                    <a16:creationId xmlns:a16="http://schemas.microsoft.com/office/drawing/2014/main" id="{B252022C-04E6-4509-B193-30F00DBAFED4}"/>
                  </a:ext>
                </a:extLst>
              </p14:cNvPr>
              <p14:cNvContentPartPr/>
              <p14:nvPr/>
            </p14:nvContentPartPr>
            <p14:xfrm>
              <a:off x="2571981" y="2473136"/>
              <a:ext cx="207360" cy="1415160"/>
            </p14:xfrm>
          </p:contentPart>
        </mc:Choice>
        <mc:Fallback xmlns="">
          <p:pic>
            <p:nvPicPr>
              <p:cNvPr id="3" name="잉크 2">
                <a:extLst>
                  <a:ext uri="{FF2B5EF4-FFF2-40B4-BE49-F238E27FC236}">
                    <a16:creationId xmlns:a16="http://schemas.microsoft.com/office/drawing/2014/main" id="{B252022C-04E6-4509-B193-30F00DBAFED4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563341" y="2464496"/>
                <a:ext cx="225000" cy="14328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051615605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97AB24-68A4-7A50-AEF2-E04E733FBF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3533F12-53AB-F1F0-0265-D7885841D9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DE0B6E4-1A1F-3D09-B3D8-6281811DECB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B5D95F7-910E-30EE-8DFA-9123C7AF1E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0861" y="1552313"/>
            <a:ext cx="10050278" cy="3753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043465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B22585-F00B-7D5D-D07A-8A2E7FF9B4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27A55F7-1860-5A47-9B37-3BF85B4755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3A64236-A1BA-C714-3081-921DE8BD5162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E3E050B-8F76-5D06-E19D-98EF78CF49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7177" y="1328444"/>
            <a:ext cx="9097645" cy="4201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513758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B00FE6-1A7F-F07A-28AC-B1FEBD31C6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B5D0863-8C9D-5692-49D5-A23E2AD36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B0F9FF0-C738-00D0-3A54-97254B4B8E1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8270C21-D5EE-7E68-F621-18154F49F8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9599" y="885470"/>
            <a:ext cx="8792802" cy="5087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13710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7D854-1741-8590-B1E1-A1A8E5472B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9DC06AE-8DC9-4BF7-601E-43DFE1C98F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BE6DCD88-DAF8-CD3D-F2FC-41B68498694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5C34ED0-C299-F74C-6174-A99BC16F36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9599" y="1190312"/>
            <a:ext cx="8792802" cy="4477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396130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F1D572-F331-6A4C-7E2C-87B51272D8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9CAFDC9-3CAD-7BFF-7B0F-6F445E893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18BD2190-A43B-DB17-4151-BC2D22FC56ED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0E959B3-027C-524B-ACA2-C937A3AB32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2970" y="1309391"/>
            <a:ext cx="4906060" cy="42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023000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6AFD61-612A-7CA8-C1A0-3B201BE5FA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E01AD28-10F8-2D95-BF9F-1935691944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FB2F2FF7-0F52-F30C-334F-AB34869D7908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643DF2B-CB52-B1D0-0821-F5AD752598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7180" y="1599944"/>
            <a:ext cx="5477639" cy="3658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512271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E1F0DA-BAEF-2DF4-7298-A6E3BD7670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B9D7549-BC08-0DE8-CFD4-D07BFD132A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01BC88F5-B131-54B2-845C-808E95A6B9FE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3E3F57B-C136-68DE-11E6-D3C35CC470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6653" y="1742839"/>
            <a:ext cx="5858693" cy="3372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262128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71E929-B51B-C19E-25DA-8841C0125A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8578995-2086-C78D-6096-22A0DE3708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3C3355F5-586F-EC85-7C65-340C2F01A58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73C1E31-3814-DBAB-5400-039882DA98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5730" y="1333207"/>
            <a:ext cx="9240540" cy="4191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31235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0192F4-F6B8-BB06-5083-2BACECB879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FAA6D9F-1DDA-073F-93FB-18420399DB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A10299FF-6C01-7552-4ABD-5165E4ACD7CC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C2DB207F-BCA7-BF8C-C69D-6F15BD6F76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2573" y="1657102"/>
            <a:ext cx="7906853" cy="3543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833060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F37367-EAC1-AA82-EC37-86D8BD9FA8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F6ED14B-AAB6-C76E-5CF1-F2BF0087D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8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0DF37518-1B3C-8A3A-E1A9-395D690E6F94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33EB79E-F4B2-9B07-64F4-475F39B0F5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3994" y="1309391"/>
            <a:ext cx="7964011" cy="42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0693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92D79C-F60F-B2A1-304C-9F081440CA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507EB3F-5D29-9E4A-0B06-B8560CB51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9AAC37F5-02DF-4DAE-BEFD-990D46364550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12FBBCB4-596A-9806-BFD9-B1C5BECFBA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8546" y="1195075"/>
            <a:ext cx="9554908" cy="4467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020748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1D9F9D-0AD5-735B-13CC-03F93F90B8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816F946-AC9F-98EB-D5CF-7F7B00DA0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0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A07F638-7530-5BF0-FC95-B41655DDB4E5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D0BE431-2859-9F8A-0739-8B3E22CF74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4468" y="1318918"/>
            <a:ext cx="7983064" cy="4220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007074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DA73B9-3184-A5B3-29C6-260032B6A5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A12FFA6-338D-B32B-6511-C4286C354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1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4F01E83F-0EA9-4356-1FC3-EF57600F504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089C78E-C814-C1C6-D80B-DB629FB146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3388" y="1395128"/>
            <a:ext cx="8945223" cy="406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172257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6795E4-0315-1656-E4EB-72E950BC61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3603DF3-7167-4E78-3298-F7A158E3A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2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989B0656-6DEB-9FA6-1D19-A92E11ACE1D6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AC14672-3B76-CBC5-A7F2-40A95A5D75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7810" y="1176023"/>
            <a:ext cx="7916380" cy="4505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860325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8186C0-AB5E-EE8F-421B-69AFA2EE56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C003A3D-BA88-7EF5-5353-FBC079307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3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44CB41CD-8339-5196-847F-7DFF7417B574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F8075D5-618B-669C-4E1F-A5E65538E2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5232" y="1599944"/>
            <a:ext cx="5801535" cy="3658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023928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FF8EE3-2E78-5D03-0E3A-607490746F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8153200-A278-CA9C-4DFF-85FCA89C98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4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9D8F816-68CE-C25B-B04B-8A5A8BEE10EA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69290B8-8051-7D37-6066-23891E5461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4730" y="1190312"/>
            <a:ext cx="9602540" cy="4477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985211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D14F6B-D337-C7F2-2BFA-2B9D4B3D76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E21529E-E9A5-4FBF-1DB7-AB13C87E65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5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47463D65-D2BE-C287-5618-56F0A76D570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77203058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234CBF-0E17-D225-913C-38AEAA3A59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7605DB5-BD8C-CADF-B802-E87079196F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6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5AA35FE-C5C6-CA3F-92C4-00F88B8F19A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0007409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7F66FA-6FBB-73A6-89D0-94326E4C5D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D808941-577E-8477-A793-140CFD6F5A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7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DE94B440-D06B-BEA3-C387-AB141BBC60F1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35138711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D2C03A-772B-23E0-148E-7DC8C8E7F1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4B96844-3C39-9625-5175-144AE21BF1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8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6B3E3585-A4D1-1593-1BE0-F1F21DFC4AC7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26886320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863943-0389-D407-2F72-AB923FB930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4DFB46C-C9B9-F966-94DE-5BFA0234A7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C2120-D6EB-4DF2-837C-94EDC2B5388B}" type="slidenum">
              <a:rPr lang="ko-KR" altLang="en-US" smtClean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pPr/>
              <a:t>99</a:t>
            </a:fld>
            <a:endParaRPr lang="ko-KR" altLang="en-US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6" name="내용 개체 틀 2">
            <a:extLst>
              <a:ext uri="{FF2B5EF4-FFF2-40B4-BE49-F238E27FC236}">
                <a16:creationId xmlns:a16="http://schemas.microsoft.com/office/drawing/2014/main" id="{C6EBCC41-84DE-1704-86BD-EAA8066A1848}"/>
              </a:ext>
            </a:extLst>
          </p:cNvPr>
          <p:cNvSpPr txBox="1">
            <a:spLocks/>
          </p:cNvSpPr>
          <p:nvPr/>
        </p:nvSpPr>
        <p:spPr>
          <a:xfrm>
            <a:off x="8987790" y="-4763"/>
            <a:ext cx="3204210" cy="733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동양미래대학교</a:t>
            </a:r>
            <a:r>
              <a:rPr lang="en-US" altLang="ko-KR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_</a:t>
            </a:r>
            <a:r>
              <a:rPr lang="ko-KR" altLang="en-US" sz="1000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료구조</a:t>
            </a:r>
            <a:endParaRPr lang="en-US" altLang="ko-KR" sz="1000" dirty="0"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39816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969</TotalTime>
  <Words>486</Words>
  <Application>Microsoft Office PowerPoint</Application>
  <PresentationFormat>와이드스크린</PresentationFormat>
  <Paragraphs>282</Paragraphs>
  <Slides>101</Slides>
  <Notes>93</Notes>
  <HiddenSlides>0</HiddenSlides>
  <MMClips>0</MMClips>
  <ScaleCrop>false</ScaleCrop>
  <HeadingPairs>
    <vt:vector size="6" baseType="variant">
      <vt:variant>
        <vt:lpstr>사용한 글꼴</vt:lpstr>
      </vt:variant>
      <vt:variant>
        <vt:i4>3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01</vt:i4>
      </vt:variant>
    </vt:vector>
  </HeadingPairs>
  <TitlesOfParts>
    <vt:vector size="105" baseType="lpstr">
      <vt:lpstr>나눔스퀘어 ExtraBold</vt:lpstr>
      <vt:lpstr>맑은 고딕</vt:lpstr>
      <vt:lpstr>Arial</vt:lpstr>
      <vt:lpstr>Office 테마</vt:lpstr>
      <vt:lpstr>https://youtu.be/AXB6r-hjsig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Registered User</dc:creator>
  <cp:lastModifiedBy>109-1</cp:lastModifiedBy>
  <cp:revision>218</cp:revision>
  <cp:lastPrinted>2019-09-22T23:57:17Z</cp:lastPrinted>
  <dcterms:created xsi:type="dcterms:W3CDTF">2019-09-22T16:47:45Z</dcterms:created>
  <dcterms:modified xsi:type="dcterms:W3CDTF">2024-11-21T07:38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SCPROP_SA">
    <vt:lpwstr>C:\Users\Administrator\Desktop\19.09.23 이재용교수님 총장발표\류석총장발표_수정.pptx</vt:lpwstr>
  </property>
</Properties>
</file>